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customXml/itemProps6.xml" ContentType="application/vnd.openxmlformats-officedocument.customXmlProperties+xml"/>
  <Override PartName="/customXml/itemProps7.xml" ContentType="application/vnd.openxmlformats-officedocument.customXmlProperties+xml"/>
  <Override PartName="/customXml/itemProps8.xml" ContentType="application/vnd.openxmlformats-officedocument.customXmlProperties+xml"/>
  <Override PartName="/customXml/itemProps9.xml" ContentType="application/vnd.openxmlformats-officedocument.customXmlProperties+xml"/>
  <Override PartName="/customXml/itemProps10.xml" ContentType="application/vnd.openxmlformats-officedocument.customXmlProperties+xml"/>
  <Override PartName="/customXml/itemProps11.xml" ContentType="application/vnd.openxmlformats-officedocument.customXmlProperties+xml"/>
  <Override PartName="/customXml/itemProps12.xml" ContentType="application/vnd.openxmlformats-officedocument.customXmlProperties+xml"/>
  <Override PartName="/customXml/itemProps13.xml" ContentType="application/vnd.openxmlformats-officedocument.customXmlProperties+xml"/>
  <Override PartName="/customXml/itemProps14.xml" ContentType="application/vnd.openxmlformats-officedocument.customXmlProperties+xml"/>
  <Override PartName="/customXml/itemProps15.xml" ContentType="application/vnd.openxmlformats-officedocument.customXmlProperties+xml"/>
  <Override PartName="/customXml/itemProps16.xml" ContentType="application/vnd.openxmlformats-officedocument.customXmlProperties+xml"/>
  <Override PartName="/customXml/itemProps17.xml" ContentType="application/vnd.openxmlformats-officedocument.customXmlProperties+xml"/>
  <Override PartName="/customXml/itemProps18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69" r:id="rId19"/>
  </p:sldMasterIdLst>
  <p:notesMasterIdLst>
    <p:notesMasterId r:id="rId28"/>
  </p:notesMasterIdLst>
  <p:handoutMasterIdLst>
    <p:handoutMasterId r:id="rId29"/>
  </p:handoutMasterIdLst>
  <p:sldIdLst>
    <p:sldId id="1133" r:id="rId20"/>
    <p:sldId id="2877" r:id="rId21"/>
    <p:sldId id="2889" r:id="rId22"/>
    <p:sldId id="2892" r:id="rId23"/>
    <p:sldId id="2893" r:id="rId24"/>
    <p:sldId id="2894" r:id="rId25"/>
    <p:sldId id="2883" r:id="rId26"/>
    <p:sldId id="1146" r:id="rId27"/>
  </p:sldIdLst>
  <p:sldSz cx="12198350" cy="6858000"/>
  <p:notesSz cx="7102475" cy="10234613"/>
  <p:custDataLst>
    <p:custData r:id="rId18"/>
    <p:tags r:id="rId30"/>
  </p:custDataLst>
  <p:defaultTextStyle>
    <a:defPPr>
      <a:defRPr lang="de-DE"/>
    </a:defPPr>
    <a:lvl1pPr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1pPr>
    <a:lvl2pPr marL="457200"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2pPr>
    <a:lvl3pPr marL="914400"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3pPr>
    <a:lvl4pPr marL="1371600"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4pPr>
    <a:lvl5pPr marL="1828800"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5pPr>
    <a:lvl6pPr marL="2286000" algn="l" defTabSz="914400" rtl="0" eaLnBrk="1" latinLnBrk="0" hangingPunct="1"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6pPr>
    <a:lvl7pPr marL="2743200" algn="l" defTabSz="914400" rtl="0" eaLnBrk="1" latinLnBrk="0" hangingPunct="1"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7pPr>
    <a:lvl8pPr marL="3200400" algn="l" defTabSz="914400" rtl="0" eaLnBrk="1" latinLnBrk="0" hangingPunct="1"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8pPr>
    <a:lvl9pPr marL="3657600" algn="l" defTabSz="914400" rtl="0" eaLnBrk="1" latinLnBrk="0" hangingPunct="1"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884">
          <p15:clr>
            <a:srgbClr val="A4A3A4"/>
          </p15:clr>
        </p15:guide>
        <p15:guide id="2" orient="horz" pos="618">
          <p15:clr>
            <a:srgbClr val="A4A3A4"/>
          </p15:clr>
        </p15:guide>
        <p15:guide id="3" orient="horz" pos="2432">
          <p15:clr>
            <a:srgbClr val="A4A3A4"/>
          </p15:clr>
        </p15:guide>
        <p15:guide id="4" orient="horz" pos="2341">
          <p15:clr>
            <a:srgbClr val="A4A3A4"/>
          </p15:clr>
        </p15:guide>
        <p15:guide id="5" orient="horz" pos="890">
          <p15:clr>
            <a:srgbClr val="A4A3A4"/>
          </p15:clr>
        </p15:guide>
        <p15:guide id="6" orient="horz" pos="210">
          <p15:clr>
            <a:srgbClr val="A4A3A4"/>
          </p15:clr>
        </p15:guide>
        <p15:guide id="7" pos="395">
          <p15:clr>
            <a:srgbClr val="A4A3A4"/>
          </p15:clr>
        </p15:guide>
        <p15:guide id="8" pos="3842">
          <p15:clr>
            <a:srgbClr val="A4A3A4"/>
          </p15:clr>
        </p15:guide>
        <p15:guide id="9" pos="3933">
          <p15:clr>
            <a:srgbClr val="A4A3A4"/>
          </p15:clr>
        </p15:guide>
        <p15:guide id="10" pos="7380">
          <p15:clr>
            <a:srgbClr val="A4A3A4"/>
          </p15:clr>
        </p15:guide>
        <p15:guide id="11" pos="5566">
          <p15:clr>
            <a:srgbClr val="A4A3A4"/>
          </p15:clr>
        </p15:guide>
        <p15:guide id="12" orient="horz" pos="895">
          <p15:clr>
            <a:srgbClr val="A4A3A4"/>
          </p15:clr>
        </p15:guide>
        <p15:guide id="13" orient="horz" pos="1117">
          <p15:clr>
            <a:srgbClr val="A4A3A4"/>
          </p15:clr>
        </p15:guide>
        <p15:guide id="14" orient="horz" pos="3658">
          <p15:clr>
            <a:srgbClr val="A4A3A4"/>
          </p15:clr>
        </p15:guide>
        <p15:guide id="15" orient="horz" pos="4319">
          <p15:clr>
            <a:srgbClr val="A4A3A4"/>
          </p15:clr>
        </p15:guide>
        <p15:guide id="16" orient="horz" pos="1499">
          <p15:clr>
            <a:srgbClr val="A4A3A4"/>
          </p15:clr>
        </p15:guide>
        <p15:guide id="17" pos="2663">
          <p15:clr>
            <a:srgbClr val="A4A3A4"/>
          </p15:clr>
        </p15:guide>
        <p15:guide id="18" pos="2753">
          <p15:clr>
            <a:srgbClr val="A4A3A4"/>
          </p15:clr>
        </p15:guide>
        <p15:guide id="19" pos="6382">
          <p15:clr>
            <a:srgbClr val="A4A3A4"/>
          </p15:clr>
        </p15:guide>
        <p15:guide id="20" pos="6244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224">
          <p15:clr>
            <a:srgbClr val="A4A3A4"/>
          </p15:clr>
        </p15:guide>
        <p15:guide id="2" pos="2236">
          <p15:clr>
            <a:srgbClr val="A4A3A4"/>
          </p15:clr>
        </p15:guide>
        <p15:guide id="3" pos="2237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1E1D7"/>
    <a:srgbClr val="CDCAC0"/>
    <a:srgbClr val="99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20000" autoAdjust="0"/>
    <p:restoredTop sz="86512" autoAdjust="0"/>
  </p:normalViewPr>
  <p:slideViewPr>
    <p:cSldViewPr snapToGrid="0" snapToObjects="1" showGuides="1">
      <p:cViewPr varScale="1">
        <p:scale>
          <a:sx n="124" d="100"/>
          <a:sy n="124" d="100"/>
        </p:scale>
        <p:origin x="264" y="176"/>
      </p:cViewPr>
      <p:guideLst>
        <p:guide orient="horz" pos="3884"/>
        <p:guide orient="horz" pos="618"/>
        <p:guide orient="horz" pos="2432"/>
        <p:guide orient="horz" pos="2341"/>
        <p:guide orient="horz" pos="890"/>
        <p:guide orient="horz" pos="210"/>
        <p:guide pos="395"/>
        <p:guide pos="3842"/>
        <p:guide pos="3933"/>
        <p:guide pos="7380"/>
        <p:guide pos="5566"/>
        <p:guide orient="horz" pos="895"/>
        <p:guide orient="horz" pos="1117"/>
        <p:guide orient="horz" pos="3658"/>
        <p:guide orient="horz" pos="4319"/>
        <p:guide orient="horz" pos="1499"/>
        <p:guide pos="2663"/>
        <p:guide pos="2753"/>
        <p:guide pos="6382"/>
        <p:guide pos="6244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napToObjects="1" showGuides="1">
      <p:cViewPr varScale="1">
        <p:scale>
          <a:sx n="66" d="100"/>
          <a:sy n="66" d="100"/>
        </p:scale>
        <p:origin x="-3336" y="-108"/>
      </p:cViewPr>
      <p:guideLst>
        <p:guide orient="horz" pos="3224"/>
        <p:guide pos="2236"/>
        <p:guide pos="2237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customXml" Target="../customXml/item13.xml"/><Relationship Id="rId18" Type="http://schemas.openxmlformats.org/officeDocument/2006/relationships/customXml" Target="../customXml/item18.xml"/><Relationship Id="rId26" Type="http://schemas.openxmlformats.org/officeDocument/2006/relationships/slide" Target="slides/slide7.xml"/><Relationship Id="rId3" Type="http://schemas.openxmlformats.org/officeDocument/2006/relationships/customXml" Target="../customXml/item3.xml"/><Relationship Id="rId21" Type="http://schemas.openxmlformats.org/officeDocument/2006/relationships/slide" Target="slides/slide2.xml"/><Relationship Id="rId34" Type="http://schemas.openxmlformats.org/officeDocument/2006/relationships/tableStyles" Target="tableStyles.xml"/><Relationship Id="rId7" Type="http://schemas.openxmlformats.org/officeDocument/2006/relationships/customXml" Target="../customXml/item7.xml"/><Relationship Id="rId12" Type="http://schemas.openxmlformats.org/officeDocument/2006/relationships/customXml" Target="../customXml/item12.xml"/><Relationship Id="rId17" Type="http://schemas.openxmlformats.org/officeDocument/2006/relationships/customXml" Target="../customXml/item17.xml"/><Relationship Id="rId25" Type="http://schemas.openxmlformats.org/officeDocument/2006/relationships/slide" Target="slides/slide6.xml"/><Relationship Id="rId33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customXml" Target="../customXml/item16.xml"/><Relationship Id="rId20" Type="http://schemas.openxmlformats.org/officeDocument/2006/relationships/slide" Target="slides/slide1.xml"/><Relationship Id="rId29" Type="http://schemas.openxmlformats.org/officeDocument/2006/relationships/handoutMaster" Target="handoutMasters/handoutMaster1.xml"/><Relationship Id="rId1" Type="http://schemas.openxmlformats.org/officeDocument/2006/relationships/customXml" Target="../customXml/item1.xml"/><Relationship Id="rId6" Type="http://schemas.openxmlformats.org/officeDocument/2006/relationships/customXml" Target="../customXml/item6.xml"/><Relationship Id="rId11" Type="http://schemas.openxmlformats.org/officeDocument/2006/relationships/customXml" Target="../customXml/item11.xml"/><Relationship Id="rId24" Type="http://schemas.openxmlformats.org/officeDocument/2006/relationships/slide" Target="slides/slide5.xml"/><Relationship Id="rId32" Type="http://schemas.openxmlformats.org/officeDocument/2006/relationships/viewProps" Target="viewProps.xml"/><Relationship Id="rId5" Type="http://schemas.openxmlformats.org/officeDocument/2006/relationships/customXml" Target="../customXml/item5.xml"/><Relationship Id="rId15" Type="http://schemas.openxmlformats.org/officeDocument/2006/relationships/customXml" Target="../customXml/item15.xml"/><Relationship Id="rId23" Type="http://schemas.openxmlformats.org/officeDocument/2006/relationships/slide" Target="slides/slide4.xml"/><Relationship Id="rId28" Type="http://schemas.openxmlformats.org/officeDocument/2006/relationships/notesMaster" Target="notesMasters/notesMaster1.xml"/><Relationship Id="rId10" Type="http://schemas.openxmlformats.org/officeDocument/2006/relationships/customXml" Target="../customXml/item10.xml"/><Relationship Id="rId19" Type="http://schemas.openxmlformats.org/officeDocument/2006/relationships/slideMaster" Target="slideMasters/slideMaster1.xml"/><Relationship Id="rId31" Type="http://schemas.openxmlformats.org/officeDocument/2006/relationships/presProps" Target="presProps.xml"/><Relationship Id="rId4" Type="http://schemas.openxmlformats.org/officeDocument/2006/relationships/customXml" Target="../customXml/item4.xml"/><Relationship Id="rId9" Type="http://schemas.openxmlformats.org/officeDocument/2006/relationships/customXml" Target="../customXml/item9.xml"/><Relationship Id="rId14" Type="http://schemas.openxmlformats.org/officeDocument/2006/relationships/customXml" Target="../customXml/item14.xml"/><Relationship Id="rId22" Type="http://schemas.openxmlformats.org/officeDocument/2006/relationships/slide" Target="slides/slide3.xml"/><Relationship Id="rId27" Type="http://schemas.openxmlformats.org/officeDocument/2006/relationships/slide" Target="slides/slide8.xml"/><Relationship Id="rId30" Type="http://schemas.openxmlformats.org/officeDocument/2006/relationships/tags" Target="tags/tag1.xml"/><Relationship Id="rId8" Type="http://schemas.openxmlformats.org/officeDocument/2006/relationships/customXml" Target="../customXml/item8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302" name="Rectangle 6"/>
          <p:cNvSpPr>
            <a:spLocks noChangeArrowheads="1"/>
          </p:cNvSpPr>
          <p:nvPr/>
        </p:nvSpPr>
        <p:spPr bwMode="auto">
          <a:xfrm>
            <a:off x="1" y="0"/>
            <a:ext cx="7102475" cy="698500"/>
          </a:xfrm>
          <a:prstGeom prst="rect">
            <a:avLst/>
          </a:prstGeom>
          <a:solidFill>
            <a:srgbClr val="879BAA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lIns="91447" tIns="45723" rIns="91447" bIns="45723" anchor="ctr"/>
          <a:lstStyle/>
          <a:p>
            <a:endParaRPr lang="de-DE"/>
          </a:p>
        </p:txBody>
      </p:sp>
      <p:sp>
        <p:nvSpPr>
          <p:cNvPr id="17305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0"/>
            <a:ext cx="3251066" cy="552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61" tIns="148561" rIns="148561" bIns="148561" numCol="1" anchor="t" anchorCtr="0" compatLnSpc="1">
            <a:prstTxWarp prst="textNoShape">
              <a:avLst/>
            </a:prstTxWarp>
          </a:bodyPr>
          <a:lstStyle>
            <a:lvl1pPr defTabSz="943050">
              <a:spcBef>
                <a:spcPct val="0"/>
              </a:spcBef>
              <a:defRPr sz="1200">
                <a:solidFill>
                  <a:schemeClr val="bg1"/>
                </a:solidFill>
                <a:latin typeface="Siemens Sans" pitchFamily="2" charset="0"/>
              </a:defRPr>
            </a:lvl1pPr>
          </a:lstStyle>
          <a:p>
            <a:endParaRPr lang="en-US" dirty="0">
              <a:latin typeface="Arial" pitchFamily="34" charset="0"/>
            </a:endParaRPr>
          </a:p>
        </p:txBody>
      </p:sp>
      <p:sp>
        <p:nvSpPr>
          <p:cNvPr id="173059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51410" y="0"/>
            <a:ext cx="3251065" cy="552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61" tIns="148561" rIns="148561" bIns="148561" numCol="1" anchor="t" anchorCtr="0" compatLnSpc="1">
            <a:prstTxWarp prst="textNoShape">
              <a:avLst/>
            </a:prstTxWarp>
          </a:bodyPr>
          <a:lstStyle>
            <a:lvl1pPr algn="r" defTabSz="943050">
              <a:spcBef>
                <a:spcPct val="0"/>
              </a:spcBef>
              <a:defRPr sz="1200">
                <a:solidFill>
                  <a:schemeClr val="bg1"/>
                </a:solidFill>
                <a:latin typeface="Siemens Sans" pitchFamily="2" charset="0"/>
              </a:defRPr>
            </a:lvl1pPr>
          </a:lstStyle>
          <a:p>
            <a:endParaRPr lang="en-US" dirty="0">
              <a:latin typeface="Arial" pitchFamily="34" charset="0"/>
            </a:endParaRPr>
          </a:p>
        </p:txBody>
      </p:sp>
      <p:sp>
        <p:nvSpPr>
          <p:cNvPr id="173060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1" y="9682163"/>
            <a:ext cx="3251066" cy="552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61" tIns="148561" rIns="148561" bIns="148561" numCol="1" anchor="b" anchorCtr="0" compatLnSpc="1">
            <a:prstTxWarp prst="textNoShape">
              <a:avLst/>
            </a:prstTxWarp>
          </a:bodyPr>
          <a:lstStyle>
            <a:lvl1pPr defTabSz="943050">
              <a:spcBef>
                <a:spcPct val="0"/>
              </a:spcBef>
              <a:defRPr sz="1200">
                <a:solidFill>
                  <a:schemeClr val="tx1"/>
                </a:solidFill>
                <a:latin typeface="Siemens Sans" pitchFamily="2" charset="0"/>
              </a:defRPr>
            </a:lvl1pPr>
          </a:lstStyle>
          <a:p>
            <a:endParaRPr lang="en-US" dirty="0">
              <a:latin typeface="Arial" pitchFamily="34" charset="0"/>
            </a:endParaRPr>
          </a:p>
        </p:txBody>
      </p:sp>
      <p:sp>
        <p:nvSpPr>
          <p:cNvPr id="173061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51410" y="9682163"/>
            <a:ext cx="3251065" cy="552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61" tIns="148561" rIns="148561" bIns="148561" numCol="1" anchor="b" anchorCtr="0" compatLnSpc="1">
            <a:prstTxWarp prst="textNoShape">
              <a:avLst/>
            </a:prstTxWarp>
          </a:bodyPr>
          <a:lstStyle>
            <a:lvl1pPr algn="r" defTabSz="943050">
              <a:spcBef>
                <a:spcPct val="0"/>
              </a:spcBef>
              <a:defRPr sz="1200">
                <a:solidFill>
                  <a:schemeClr val="tx1"/>
                </a:solidFill>
                <a:latin typeface="Siemens Sans" pitchFamily="2" charset="0"/>
              </a:defRPr>
            </a:lvl1pPr>
          </a:lstStyle>
          <a:p>
            <a:r>
              <a:rPr lang="de-DE" dirty="0">
                <a:latin typeface="Arial" pitchFamily="34" charset="0"/>
              </a:rPr>
              <a:t>Handout </a:t>
            </a:r>
            <a:fld id="{BFC713D8-7968-482B-A79F-9C586FE5053A}" type="slidenum">
              <a:rPr lang="de-DE" smtClean="0">
                <a:latin typeface="Arial" pitchFamily="34" charset="0"/>
              </a:rPr>
              <a:pPr/>
              <a:t>‹Nr.›</a:t>
            </a:fld>
            <a:endParaRPr lang="de-DE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2317232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82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0"/>
            <a:ext cx="3251066" cy="552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61" tIns="148561" rIns="148561" bIns="148561" numCol="1" anchor="t" anchorCtr="0" compatLnSpc="1">
            <a:prstTxWarp prst="textNoShape">
              <a:avLst/>
            </a:prstTxWarp>
          </a:bodyPr>
          <a:lstStyle>
            <a:lvl1pPr defTabSz="943050">
              <a:spcBef>
                <a:spcPct val="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7827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51410" y="0"/>
            <a:ext cx="3249478" cy="552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61" tIns="148561" rIns="148561" bIns="148561" numCol="1" anchor="t" anchorCtr="0" compatLnSpc="1">
            <a:prstTxWarp prst="textNoShape">
              <a:avLst/>
            </a:prstTxWarp>
          </a:bodyPr>
          <a:lstStyle>
            <a:lvl1pPr algn="r" defTabSz="943050">
              <a:spcBef>
                <a:spcPct val="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7828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139700" y="768350"/>
            <a:ext cx="6824663" cy="3836988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77829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238232" y="4822824"/>
            <a:ext cx="6626012" cy="45656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err="1"/>
              <a:t>Textmasterformate</a:t>
            </a:r>
            <a:r>
              <a:rPr lang="en-US" dirty="0"/>
              <a:t> </a:t>
            </a:r>
            <a:r>
              <a:rPr lang="en-US" dirty="0" err="1"/>
              <a:t>durch</a:t>
            </a:r>
            <a:r>
              <a:rPr lang="en-US" dirty="0"/>
              <a:t> </a:t>
            </a:r>
            <a:r>
              <a:rPr lang="en-US" dirty="0" err="1"/>
              <a:t>Klicken</a:t>
            </a:r>
            <a:r>
              <a:rPr lang="en-US" dirty="0"/>
              <a:t> </a:t>
            </a:r>
            <a:r>
              <a:rPr lang="en-US" dirty="0" err="1"/>
              <a:t>bearbeiten</a:t>
            </a:r>
            <a:endParaRPr lang="en-US" dirty="0"/>
          </a:p>
          <a:p>
            <a:pPr lvl="1"/>
            <a:r>
              <a:rPr lang="en-US" dirty="0" err="1"/>
              <a:t>Zwei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2"/>
            <a:r>
              <a:rPr lang="en-US" dirty="0" err="1"/>
              <a:t>Drit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3"/>
            <a:r>
              <a:rPr lang="en-US" dirty="0" err="1"/>
              <a:t>Vier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4"/>
            <a:r>
              <a:rPr lang="en-US" dirty="0" err="1"/>
              <a:t>Fünf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</p:txBody>
      </p:sp>
      <p:sp>
        <p:nvSpPr>
          <p:cNvPr id="77830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1" y="9682163"/>
            <a:ext cx="3251066" cy="5508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61" tIns="148561" rIns="148561" bIns="148561" numCol="1" anchor="b" anchorCtr="0" compatLnSpc="1">
            <a:prstTxWarp prst="textNoShape">
              <a:avLst/>
            </a:prstTxWarp>
          </a:bodyPr>
          <a:lstStyle>
            <a:lvl1pPr defTabSz="943050">
              <a:spcBef>
                <a:spcPct val="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7831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51410" y="9682163"/>
            <a:ext cx="3249478" cy="5508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61" tIns="148561" rIns="148561" bIns="148561" numCol="1" anchor="b" anchorCtr="0" compatLnSpc="1">
            <a:prstTxWarp prst="textNoShape">
              <a:avLst/>
            </a:prstTxWarp>
          </a:bodyPr>
          <a:lstStyle>
            <a:lvl1pPr algn="r" defTabSz="943050">
              <a:spcBef>
                <a:spcPct val="0"/>
              </a:spcBef>
              <a:defRPr sz="1200">
                <a:solidFill>
                  <a:schemeClr val="tx1"/>
                </a:solidFill>
                <a:latin typeface="Siemens Sans" pitchFamily="2" charset="0"/>
              </a:defRPr>
            </a:lvl1pPr>
          </a:lstStyle>
          <a:p>
            <a:r>
              <a:rPr lang="en-US" dirty="0">
                <a:latin typeface="Arial" pitchFamily="34" charset="0"/>
              </a:rPr>
              <a:t>Notes </a:t>
            </a:r>
            <a:fld id="{AD141568-5488-4AC9-B82D-9F5CE1225E2A}" type="slidenum">
              <a:rPr lang="en-US" smtClean="0">
                <a:latin typeface="Arial" pitchFamily="34" charset="0"/>
              </a:rPr>
              <a:pPr/>
              <a:t>‹Nr.›</a:t>
            </a:fld>
            <a:endParaRPr lang="en-US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63877891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ＭＳ Ｐゴシック" charset="-128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ＭＳ Ｐゴシック" charset="-128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ＭＳ Ｐゴシック" charset="-128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ＭＳ Ｐゴシック" charset="-128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ＭＳ Ｐゴシック" charset="-128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34.xml"/><Relationship Id="rId7" Type="http://schemas.openxmlformats.org/officeDocument/2006/relationships/oleObject" Target="../embeddings/oleObject2.bin"/><Relationship Id="rId2" Type="http://schemas.openxmlformats.org/officeDocument/2006/relationships/tags" Target="../tags/tag33.xml"/><Relationship Id="rId1" Type="http://schemas.openxmlformats.org/officeDocument/2006/relationships/vmlDrawing" Target="../drawings/vmlDrawing2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36.xml"/><Relationship Id="rId10" Type="http://schemas.openxmlformats.org/officeDocument/2006/relationships/image" Target="../media/image2.png"/><Relationship Id="rId4" Type="http://schemas.openxmlformats.org/officeDocument/2006/relationships/tags" Target="../tags/tag35.xml"/><Relationship Id="rId9" Type="http://schemas.openxmlformats.org/officeDocument/2006/relationships/hyperlink" Target="https://oss-compliance-tooling.org/" TargetMode="Externa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7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pictur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45414490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13" name="think-cell Folie" r:id="rId7" imgW="360" imgH="360" progId="">
                  <p:embed/>
                </p:oleObj>
              </mc:Choice>
              <mc:Fallback>
                <p:oleObj name="think-cell Folie" r:id="rId7" imgW="360" imgH="360" progId="">
                  <p:embed/>
                  <p:pic>
                    <p:nvPicPr>
                      <p:cNvPr id="0" name="Picture 24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cdtRectangle 115 Id57350"/>
          <p:cNvSpPr>
            <a:spLocks noGrp="1" noChangeArrowheads="1"/>
          </p:cNvSpPr>
          <p:nvPr>
            <p:ph type="ctrTitle" hasCustomPrompt="1"/>
            <p:custDataLst>
              <p:tags r:id="rId4"/>
            </p:custDataLst>
          </p:nvPr>
        </p:nvSpPr>
        <p:spPr bwMode="ltGray">
          <a:xfrm>
            <a:off x="627063" y="3031294"/>
            <a:ext cx="6480000" cy="2771201"/>
          </a:xfrm>
          <a:solidFill>
            <a:srgbClr val="EB780A"/>
          </a:solidFill>
        </p:spPr>
        <p:txBody>
          <a:bodyPr wrap="square" lIns="216000" tIns="90000" rIns="216000" bIns="216000" anchor="b" anchorCtr="0">
            <a:spAutoFit/>
          </a:bodyPr>
          <a:lstStyle>
            <a:lvl1pPr>
              <a:defRPr sz="4000" smtClean="0">
                <a:solidFill>
                  <a:srgbClr val="FFFFFF"/>
                </a:solidFill>
                <a:latin typeface="Arial" pitchFamily="34" charset="0"/>
              </a:defRPr>
            </a:lvl1pPr>
          </a:lstStyle>
          <a:p>
            <a:r>
              <a:rPr lang="en-US" dirty="0"/>
              <a:t>2nd meeting open source tooling for open source compliance work group</a:t>
            </a:r>
          </a:p>
        </p:txBody>
      </p:sp>
      <p:sp>
        <p:nvSpPr>
          <p:cNvPr id="5" name="cdtText Box 101 Id11"/>
          <p:cNvSpPr txBox="1">
            <a:spLocks noChangeArrowheads="1"/>
          </p:cNvSpPr>
          <p:nvPr userDrawn="1">
            <p:custDataLst>
              <p:tags r:id="rId5"/>
            </p:custDataLst>
          </p:nvPr>
        </p:nvSpPr>
        <p:spPr bwMode="auto">
          <a:xfrm>
            <a:off x="6099175" y="0"/>
            <a:ext cx="1588" cy="15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99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36000" rIns="0" bIns="0">
            <a:noAutofit/>
          </a:bodyPr>
          <a:lstStyle/>
          <a:p>
            <a:pPr algn="ctr" eaLnBrk="1">
              <a:buClrTx/>
              <a:buFontTx/>
              <a:buNone/>
            </a:pPr>
            <a:endParaRPr lang="en-US" sz="1100" b="1" dirty="0">
              <a:solidFill>
                <a:srgbClr val="990000"/>
              </a:solidFill>
            </a:endParaRPr>
          </a:p>
        </p:txBody>
      </p:sp>
      <p:sp>
        <p:nvSpPr>
          <p:cNvPr id="9" name="Textplatzhalter 57343"/>
          <p:cNvSpPr>
            <a:spLocks noGrp="1"/>
          </p:cNvSpPr>
          <p:nvPr>
            <p:ph type="body" sz="quarter" idx="12" hasCustomPrompt="1"/>
          </p:nvPr>
        </p:nvSpPr>
        <p:spPr>
          <a:xfrm>
            <a:off x="627063" y="5907600"/>
            <a:ext cx="6480000" cy="324000"/>
          </a:xfrm>
          <a:solidFill>
            <a:schemeClr val="bg1">
              <a:alpha val="85000"/>
            </a:schemeClr>
          </a:solidFill>
        </p:spPr>
        <p:txBody>
          <a:bodyPr lIns="216000" tIns="90000" rIns="216000" bIns="46800"/>
          <a:lstStyle>
            <a:lvl1pPr algn="r">
              <a:lnSpc>
                <a:spcPct val="100000"/>
              </a:lnSpc>
              <a:defRPr sz="1000" b="1"/>
            </a:lvl1pPr>
            <a:lvl2pPr marL="1588" indent="0">
              <a:buNone/>
              <a:defRPr/>
            </a:lvl2pPr>
          </a:lstStyle>
          <a:p>
            <a:pPr lvl="0"/>
            <a:r>
              <a:rPr lang="de-DE" dirty="0">
                <a:hlinkClick r:id="rId9"/>
              </a:rPr>
              <a:t>https://oss-compliance-tooling.org/</a:t>
            </a:r>
            <a:endParaRPr lang="en-US" dirty="0"/>
          </a:p>
        </p:txBody>
      </p:sp>
      <p:sp>
        <p:nvSpPr>
          <p:cNvPr id="10" name="Textplatzhalter 57343"/>
          <p:cNvSpPr>
            <a:spLocks noGrp="1"/>
          </p:cNvSpPr>
          <p:nvPr>
            <p:ph type="body" sz="quarter" idx="13" hasCustomPrompt="1"/>
          </p:nvPr>
        </p:nvSpPr>
        <p:spPr>
          <a:xfrm>
            <a:off x="627062" y="5907600"/>
            <a:ext cx="3073399" cy="324000"/>
          </a:xfrm>
        </p:spPr>
        <p:txBody>
          <a:bodyPr lIns="216000" tIns="90000" rIns="0" bIns="46800"/>
          <a:lstStyle>
            <a:lvl1pPr algn="l">
              <a:lnSpc>
                <a:spcPct val="100000"/>
              </a:lnSpc>
              <a:defRPr sz="1000" b="1"/>
            </a:lvl1pPr>
            <a:lvl2pPr marL="1588" indent="0">
              <a:buNone/>
              <a:defRPr/>
            </a:lvl2pPr>
          </a:lstStyle>
          <a:p>
            <a:r>
              <a:rPr lang="en-US" dirty="0"/>
              <a:t>Copyright © 2019 The tooling working group </a:t>
            </a:r>
          </a:p>
        </p:txBody>
      </p:sp>
      <p:grpSp>
        <p:nvGrpSpPr>
          <p:cNvPr id="33" name="Gruppieren 32"/>
          <p:cNvGrpSpPr/>
          <p:nvPr userDrawn="1"/>
        </p:nvGrpSpPr>
        <p:grpSpPr>
          <a:xfrm>
            <a:off x="-216000" y="-216000"/>
            <a:ext cx="12628800" cy="7290000"/>
            <a:chOff x="-216000" y="-216000"/>
            <a:chExt cx="12628800" cy="7290000"/>
          </a:xfrm>
        </p:grpSpPr>
        <p:cxnSp>
          <p:nvCxnSpPr>
            <p:cNvPr id="57" name="Gerade Verbindung 56"/>
            <p:cNvCxnSpPr/>
            <p:nvPr userDrawn="1"/>
          </p:nvCxnSpPr>
          <p:spPr bwMode="auto">
            <a:xfrm>
              <a:off x="627063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8" name="Gerade Verbindung 57"/>
            <p:cNvCxnSpPr/>
            <p:nvPr userDrawn="1"/>
          </p:nvCxnSpPr>
          <p:spPr bwMode="auto">
            <a:xfrm>
              <a:off x="6099175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9" name="Gerade Verbindung 58"/>
            <p:cNvCxnSpPr/>
            <p:nvPr userDrawn="1"/>
          </p:nvCxnSpPr>
          <p:spPr bwMode="auto">
            <a:xfrm>
              <a:off x="62420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0" name="Gerade Verbindung 59"/>
            <p:cNvCxnSpPr/>
            <p:nvPr userDrawn="1"/>
          </p:nvCxnSpPr>
          <p:spPr bwMode="auto">
            <a:xfrm>
              <a:off x="8835479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1" name="Gerade Verbindung 60"/>
            <p:cNvCxnSpPr/>
            <p:nvPr userDrawn="1"/>
          </p:nvCxnSpPr>
          <p:spPr bwMode="auto">
            <a:xfrm>
              <a:off x="117157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2" name="Gerade Verbindung 61"/>
            <p:cNvCxnSpPr/>
            <p:nvPr userDrawn="1"/>
          </p:nvCxnSpPr>
          <p:spPr bwMode="auto">
            <a:xfrm>
              <a:off x="627063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3" name="Gerade Verbindung 62"/>
            <p:cNvCxnSpPr/>
            <p:nvPr userDrawn="1"/>
          </p:nvCxnSpPr>
          <p:spPr bwMode="auto">
            <a:xfrm>
              <a:off x="6099175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4" name="Gerade Verbindung 63"/>
            <p:cNvCxnSpPr/>
            <p:nvPr userDrawn="1"/>
          </p:nvCxnSpPr>
          <p:spPr bwMode="auto">
            <a:xfrm>
              <a:off x="62420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5" name="Gerade Verbindung 64"/>
            <p:cNvCxnSpPr/>
            <p:nvPr userDrawn="1"/>
          </p:nvCxnSpPr>
          <p:spPr bwMode="auto">
            <a:xfrm>
              <a:off x="8835479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6" name="Gerade Verbindung 65"/>
            <p:cNvCxnSpPr/>
            <p:nvPr userDrawn="1"/>
          </p:nvCxnSpPr>
          <p:spPr bwMode="auto">
            <a:xfrm>
              <a:off x="117157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7" name="Gerade Verbindung 66"/>
            <p:cNvCxnSpPr/>
            <p:nvPr userDrawn="1"/>
          </p:nvCxnSpPr>
          <p:spPr bwMode="auto">
            <a:xfrm rot="5400000">
              <a:off x="-1260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8" name="Gerade Verbindung 67"/>
            <p:cNvCxnSpPr/>
            <p:nvPr userDrawn="1"/>
          </p:nvCxnSpPr>
          <p:spPr bwMode="auto">
            <a:xfrm rot="5400000">
              <a:off x="-126000" y="88869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9" name="Gerade Verbindung 68"/>
            <p:cNvCxnSpPr/>
            <p:nvPr userDrawn="1"/>
          </p:nvCxnSpPr>
          <p:spPr bwMode="auto">
            <a:xfrm rot="5400000">
              <a:off x="-126000" y="132039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0" name="Gerade Verbindung 69"/>
            <p:cNvCxnSpPr/>
            <p:nvPr userDrawn="1"/>
          </p:nvCxnSpPr>
          <p:spPr bwMode="auto">
            <a:xfrm rot="5400000">
              <a:off x="-126000" y="3625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1" name="Gerade Verbindung 70"/>
            <p:cNvCxnSpPr/>
            <p:nvPr userDrawn="1"/>
          </p:nvCxnSpPr>
          <p:spPr bwMode="auto">
            <a:xfrm rot="5400000">
              <a:off x="-126000" y="3767981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2" name="Gerade Verbindung 71"/>
            <p:cNvCxnSpPr/>
            <p:nvPr userDrawn="1"/>
          </p:nvCxnSpPr>
          <p:spPr bwMode="auto">
            <a:xfrm rot="5400000">
              <a:off x="-126000" y="6072038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3" name="Gerade Verbindung 72"/>
            <p:cNvCxnSpPr/>
            <p:nvPr userDrawn="1"/>
          </p:nvCxnSpPr>
          <p:spPr bwMode="auto">
            <a:xfrm rot="5400000">
              <a:off x="-126000" y="168085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4" name="Gerade Verbindung 73"/>
            <p:cNvCxnSpPr/>
            <p:nvPr userDrawn="1"/>
          </p:nvCxnSpPr>
          <p:spPr bwMode="auto">
            <a:xfrm rot="5400000">
              <a:off x="-126000" y="571469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5" name="Gerade Verbindung 74"/>
            <p:cNvCxnSpPr/>
            <p:nvPr userDrawn="1"/>
          </p:nvCxnSpPr>
          <p:spPr bwMode="auto">
            <a:xfrm rot="5400000">
              <a:off x="123228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6" name="Gerade Verbindung 75"/>
            <p:cNvCxnSpPr/>
            <p:nvPr userDrawn="1"/>
          </p:nvCxnSpPr>
          <p:spPr bwMode="auto">
            <a:xfrm rot="5400000">
              <a:off x="12322800" y="88869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7" name="Gerade Verbindung 76"/>
            <p:cNvCxnSpPr/>
            <p:nvPr userDrawn="1"/>
          </p:nvCxnSpPr>
          <p:spPr bwMode="auto">
            <a:xfrm rot="5400000">
              <a:off x="12322800" y="132039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8" name="Gerade Verbindung 77"/>
            <p:cNvCxnSpPr/>
            <p:nvPr userDrawn="1"/>
          </p:nvCxnSpPr>
          <p:spPr bwMode="auto">
            <a:xfrm rot="5400000">
              <a:off x="12322800" y="3625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9" name="Gerade Verbindung 78"/>
            <p:cNvCxnSpPr/>
            <p:nvPr userDrawn="1"/>
          </p:nvCxnSpPr>
          <p:spPr bwMode="auto">
            <a:xfrm rot="5400000">
              <a:off x="12322800" y="3767981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0" name="Gerade Verbindung 79"/>
            <p:cNvCxnSpPr/>
            <p:nvPr userDrawn="1"/>
          </p:nvCxnSpPr>
          <p:spPr bwMode="auto">
            <a:xfrm rot="5400000">
              <a:off x="12322800" y="6072038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1" name="Gerade Verbindung 80"/>
            <p:cNvCxnSpPr/>
            <p:nvPr userDrawn="1"/>
          </p:nvCxnSpPr>
          <p:spPr bwMode="auto">
            <a:xfrm rot="5400000">
              <a:off x="12322800" y="168085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2" name="Gerade Verbindung 81"/>
            <p:cNvCxnSpPr/>
            <p:nvPr userDrawn="1"/>
          </p:nvCxnSpPr>
          <p:spPr bwMode="auto">
            <a:xfrm rot="5400000">
              <a:off x="12322800" y="571469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pic>
        <p:nvPicPr>
          <p:cNvPr id="37" name="Grafik 36">
            <a:extLst>
              <a:ext uri="{FF2B5EF4-FFF2-40B4-BE49-F238E27FC236}">
                <a16:creationId xmlns:a16="http://schemas.microsoft.com/office/drawing/2014/main" id="{E25EC74E-35FA-4B28-83A8-432DC4796CF5}"/>
              </a:ext>
            </a:extLst>
          </p:cNvPr>
          <p:cNvPicPr>
            <a:picLocks noChangeAspect="1"/>
          </p:cNvPicPr>
          <p:nvPr userDrawn="1"/>
        </p:nvPicPr>
        <p:blipFill>
          <a:blip r:embed="rId10"/>
          <a:stretch>
            <a:fillRect/>
          </a:stretch>
        </p:blipFill>
        <p:spPr>
          <a:xfrm>
            <a:off x="9719064" y="324000"/>
            <a:ext cx="1810295" cy="840470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266861815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ree Content" userDrawn="1">
  <p:cSld name="1_F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Click to add core message of slid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27062" y="1412875"/>
            <a:ext cx="11088687" cy="215444"/>
          </a:xfrm>
        </p:spPr>
        <p:txBody>
          <a:bodyPr wrap="square">
            <a:spAutoFit/>
          </a:bodyPr>
          <a:lstStyle>
            <a:lvl1pPr>
              <a:defRPr sz="1400"/>
            </a:lvl1pPr>
          </a:lstStyle>
          <a:p>
            <a:pPr lvl="0"/>
            <a:r>
              <a:rPr lang="en-US" noProof="0" dirty="0"/>
              <a:t>Title (description of slide content), Arial 14 </a:t>
            </a:r>
            <a:r>
              <a:rPr lang="en-US" noProof="0" dirty="0" err="1"/>
              <a:t>pt</a:t>
            </a:r>
            <a:r>
              <a:rPr lang="en-US" noProof="0" dirty="0"/>
              <a:t>, maximum of 1 lin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47864808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tags" Target="../tags/tag10.xml"/><Relationship Id="rId18" Type="http://schemas.openxmlformats.org/officeDocument/2006/relationships/tags" Target="../tags/tag15.xml"/><Relationship Id="rId26" Type="http://schemas.openxmlformats.org/officeDocument/2006/relationships/tags" Target="../tags/tag23.xml"/><Relationship Id="rId21" Type="http://schemas.openxmlformats.org/officeDocument/2006/relationships/tags" Target="../tags/tag18.xml"/><Relationship Id="rId34" Type="http://schemas.openxmlformats.org/officeDocument/2006/relationships/tags" Target="../tags/tag31.xml"/><Relationship Id="rId7" Type="http://schemas.openxmlformats.org/officeDocument/2006/relationships/tags" Target="../tags/tag4.xml"/><Relationship Id="rId12" Type="http://schemas.openxmlformats.org/officeDocument/2006/relationships/tags" Target="../tags/tag9.xml"/><Relationship Id="rId17" Type="http://schemas.openxmlformats.org/officeDocument/2006/relationships/tags" Target="../tags/tag14.xml"/><Relationship Id="rId25" Type="http://schemas.openxmlformats.org/officeDocument/2006/relationships/tags" Target="../tags/tag22.xml"/><Relationship Id="rId33" Type="http://schemas.openxmlformats.org/officeDocument/2006/relationships/tags" Target="../tags/tag30.xml"/><Relationship Id="rId38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13.xml"/><Relationship Id="rId20" Type="http://schemas.openxmlformats.org/officeDocument/2006/relationships/tags" Target="../tags/tag17.xml"/><Relationship Id="rId29" Type="http://schemas.openxmlformats.org/officeDocument/2006/relationships/tags" Target="../tags/tag26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3.xml"/><Relationship Id="rId11" Type="http://schemas.openxmlformats.org/officeDocument/2006/relationships/tags" Target="../tags/tag8.xml"/><Relationship Id="rId24" Type="http://schemas.openxmlformats.org/officeDocument/2006/relationships/tags" Target="../tags/tag21.xml"/><Relationship Id="rId32" Type="http://schemas.openxmlformats.org/officeDocument/2006/relationships/tags" Target="../tags/tag29.xml"/><Relationship Id="rId37" Type="http://schemas.openxmlformats.org/officeDocument/2006/relationships/image" Target="../media/image1.emf"/><Relationship Id="rId5" Type="http://schemas.openxmlformats.org/officeDocument/2006/relationships/tags" Target="../tags/tag2.xml"/><Relationship Id="rId15" Type="http://schemas.openxmlformats.org/officeDocument/2006/relationships/tags" Target="../tags/tag12.xml"/><Relationship Id="rId23" Type="http://schemas.openxmlformats.org/officeDocument/2006/relationships/tags" Target="../tags/tag20.xml"/><Relationship Id="rId28" Type="http://schemas.openxmlformats.org/officeDocument/2006/relationships/tags" Target="../tags/tag25.xml"/><Relationship Id="rId36" Type="http://schemas.openxmlformats.org/officeDocument/2006/relationships/oleObject" Target="../embeddings/oleObject1.bin"/><Relationship Id="rId10" Type="http://schemas.openxmlformats.org/officeDocument/2006/relationships/tags" Target="../tags/tag7.xml"/><Relationship Id="rId19" Type="http://schemas.openxmlformats.org/officeDocument/2006/relationships/tags" Target="../tags/tag16.xml"/><Relationship Id="rId31" Type="http://schemas.openxmlformats.org/officeDocument/2006/relationships/tags" Target="../tags/tag28.xml"/><Relationship Id="rId4" Type="http://schemas.openxmlformats.org/officeDocument/2006/relationships/vmlDrawing" Target="../drawings/vmlDrawing1.vml"/><Relationship Id="rId9" Type="http://schemas.openxmlformats.org/officeDocument/2006/relationships/tags" Target="../tags/tag6.xml"/><Relationship Id="rId14" Type="http://schemas.openxmlformats.org/officeDocument/2006/relationships/tags" Target="../tags/tag11.xml"/><Relationship Id="rId22" Type="http://schemas.openxmlformats.org/officeDocument/2006/relationships/tags" Target="../tags/tag19.xml"/><Relationship Id="rId27" Type="http://schemas.openxmlformats.org/officeDocument/2006/relationships/tags" Target="../tags/tag24.xml"/><Relationship Id="rId30" Type="http://schemas.openxmlformats.org/officeDocument/2006/relationships/tags" Target="../tags/tag27.xml"/><Relationship Id="rId35" Type="http://schemas.openxmlformats.org/officeDocument/2006/relationships/tags" Target="../tags/tag32.xml"/><Relationship Id="rId8" Type="http://schemas.openxmlformats.org/officeDocument/2006/relationships/tags" Target="../tags/tag5.xml"/><Relationship Id="rId3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281131179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13" name="think-cell Folie" r:id="rId36" imgW="360" imgH="360" progId="">
                  <p:embed/>
                </p:oleObj>
              </mc:Choice>
              <mc:Fallback>
                <p:oleObj name="think-cell Folie" r:id="rId36" imgW="360" imgH="360" progId="">
                  <p:embed/>
                  <p:pic>
                    <p:nvPicPr>
                      <p:cNvPr id="0" name="Picture 24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3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cdtRectangle 12 Id15"/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gray">
          <a:xfrm>
            <a:off x="0" y="0"/>
            <a:ext cx="12198350" cy="12684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anchor="ctr">
            <a:noAutofit/>
          </a:bodyPr>
          <a:lstStyle/>
          <a:p>
            <a:pPr eaLnBrk="1"/>
            <a:endParaRPr lang="en-US" dirty="0"/>
          </a:p>
        </p:txBody>
      </p:sp>
      <p:sp>
        <p:nvSpPr>
          <p:cNvPr id="3078" name="cdtRectangle 115 Id3078"/>
          <p:cNvSpPr>
            <a:spLocks noGrp="1" noChangeArrowheads="1"/>
          </p:cNvSpPr>
          <p:nvPr>
            <p:ph type="title"/>
            <p:custDataLst>
              <p:tags r:id="rId8"/>
            </p:custDataLst>
          </p:nvPr>
        </p:nvSpPr>
        <p:spPr bwMode="auto">
          <a:xfrm>
            <a:off x="0" y="0"/>
            <a:ext cx="12198350" cy="12684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626400" tIns="396000" rIns="2124000" bIns="23400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err="1"/>
              <a:t>Titelmasterformat</a:t>
            </a:r>
            <a:r>
              <a:rPr lang="en-US" dirty="0"/>
              <a:t> </a:t>
            </a:r>
            <a:r>
              <a:rPr lang="en-US" dirty="0" err="1"/>
              <a:t>durch</a:t>
            </a:r>
            <a:r>
              <a:rPr lang="en-US" dirty="0"/>
              <a:t> </a:t>
            </a:r>
            <a:r>
              <a:rPr lang="en-US" dirty="0" err="1"/>
              <a:t>Klicken</a:t>
            </a:r>
            <a:r>
              <a:rPr lang="en-US" dirty="0"/>
              <a:t> </a:t>
            </a:r>
            <a:r>
              <a:rPr lang="en-US" dirty="0" err="1"/>
              <a:t>bearbeiten</a:t>
            </a:r>
            <a:endParaRPr lang="en-US" dirty="0"/>
          </a:p>
        </p:txBody>
      </p:sp>
      <p:sp>
        <p:nvSpPr>
          <p:cNvPr id="3079" name="cdtRectangle 116 Id3079"/>
          <p:cNvSpPr>
            <a:spLocks noGrp="1" noChangeArrowheads="1"/>
          </p:cNvSpPr>
          <p:nvPr>
            <p:ph type="body" idx="1"/>
            <p:custDataLst>
              <p:tags r:id="rId9"/>
            </p:custDataLst>
          </p:nvPr>
        </p:nvSpPr>
        <p:spPr bwMode="auto">
          <a:xfrm>
            <a:off x="627063" y="1773238"/>
            <a:ext cx="8208962" cy="40338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err="1"/>
              <a:t>Textmasterformat</a:t>
            </a:r>
            <a:r>
              <a:rPr lang="en-US" dirty="0"/>
              <a:t> </a:t>
            </a:r>
            <a:r>
              <a:rPr lang="en-US" dirty="0" err="1"/>
              <a:t>bearbeiten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3072" name="cdtMasterTags_CL1 Id3072"/>
          <p:cNvCxnSpPr/>
          <p:nvPr userDrawn="1">
            <p:custDataLst>
              <p:tags r:id="rId10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3" name="cdtMasterTags_CL2 Id3073"/>
          <p:cNvCxnSpPr/>
          <p:nvPr userDrawn="1">
            <p:custDataLst>
              <p:tags r:id="rId11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4" name="cdtMasterTags_CL3 Id3074"/>
          <p:cNvCxnSpPr/>
          <p:nvPr userDrawn="1">
            <p:custDataLst>
              <p:tags r:id="rId12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5" name="cdtMasterTags_CL4 Id3075"/>
          <p:cNvCxnSpPr/>
          <p:nvPr userDrawn="1">
            <p:custDataLst>
              <p:tags r:id="rId13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6" name="cdtMasterTags_CL5 Id3076"/>
          <p:cNvCxnSpPr/>
          <p:nvPr userDrawn="1">
            <p:custDataLst>
              <p:tags r:id="rId14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7" name="cdtMasterTags_CL6 Id3077"/>
          <p:cNvCxnSpPr/>
          <p:nvPr userDrawn="1">
            <p:custDataLst>
              <p:tags r:id="rId15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0" name="cdtMasterTags_CL7 Id3080"/>
          <p:cNvCxnSpPr/>
          <p:nvPr userDrawn="1">
            <p:custDataLst>
              <p:tags r:id="rId16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1" name="cdtMasterTags_CL8 Id3081"/>
          <p:cNvCxnSpPr/>
          <p:nvPr userDrawn="1">
            <p:custDataLst>
              <p:tags r:id="rId17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2" name="cdtMasterTags_CL9 Id3082"/>
          <p:cNvCxnSpPr/>
          <p:nvPr userDrawn="1">
            <p:custDataLst>
              <p:tags r:id="rId18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3" name="cdtMasterTags_CL10 Id3083"/>
          <p:cNvCxnSpPr/>
          <p:nvPr userDrawn="1">
            <p:custDataLst>
              <p:tags r:id="rId19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4" name="cdtMasterTags_CL11 Id3084"/>
          <p:cNvCxnSpPr/>
          <p:nvPr userDrawn="1">
            <p:custDataLst>
              <p:tags r:id="rId20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5" name="cdtMasterTags_CL12 Id3085"/>
          <p:cNvCxnSpPr/>
          <p:nvPr userDrawn="1">
            <p:custDataLst>
              <p:tags r:id="rId21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6" name="cdtMasterTags_CL13 Id3086"/>
          <p:cNvCxnSpPr/>
          <p:nvPr userDrawn="1">
            <p:custDataLst>
              <p:tags r:id="rId22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7" name="cdtMasterTags_CL14 Id3087"/>
          <p:cNvCxnSpPr/>
          <p:nvPr userDrawn="1">
            <p:custDataLst>
              <p:tags r:id="rId23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8" name="cdtMasterTags_CL15 Id3088"/>
          <p:cNvCxnSpPr/>
          <p:nvPr userDrawn="1">
            <p:custDataLst>
              <p:tags r:id="rId24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9" name="cdtMasterTags_CL16 Id3089"/>
          <p:cNvCxnSpPr/>
          <p:nvPr userDrawn="1">
            <p:custDataLst>
              <p:tags r:id="rId25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0" name="cdtMasterTags_CL17 Id3090"/>
          <p:cNvCxnSpPr/>
          <p:nvPr userDrawn="1">
            <p:custDataLst>
              <p:tags r:id="rId26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1" name="cdtMasterTags_CL18 Id3091"/>
          <p:cNvCxnSpPr/>
          <p:nvPr userDrawn="1">
            <p:custDataLst>
              <p:tags r:id="rId27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2" name="cdtMasterTags_CL19 Id3092"/>
          <p:cNvCxnSpPr/>
          <p:nvPr userDrawn="1">
            <p:custDataLst>
              <p:tags r:id="rId28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3" name="cdtMasterTags_CL20 Id3093"/>
          <p:cNvCxnSpPr/>
          <p:nvPr userDrawn="1">
            <p:custDataLst>
              <p:tags r:id="rId29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4" name="cdtMasterTags_CL21 Id3094"/>
          <p:cNvCxnSpPr/>
          <p:nvPr userDrawn="1">
            <p:custDataLst>
              <p:tags r:id="rId30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5" name="cdtMasterTags_CL22 Id3095"/>
          <p:cNvCxnSpPr/>
          <p:nvPr userDrawn="1">
            <p:custDataLst>
              <p:tags r:id="rId31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6" name="cdtMasterTags"/>
          <p:cNvCxnSpPr/>
          <p:nvPr userDrawn="1">
            <p:custDataLst>
              <p:tags r:id="rId32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64" name="cdtTextBox 12 Id17"/>
          <p:cNvSpPr txBox="1"/>
          <p:nvPr userDrawn="1">
            <p:custDataLst>
              <p:tags r:id="rId33"/>
            </p:custDataLst>
          </p:nvPr>
        </p:nvSpPr>
        <p:spPr>
          <a:xfrm>
            <a:off x="285751" y="6597650"/>
            <a:ext cx="3110833" cy="260350"/>
          </a:xfrm>
          <a:prstGeom prst="rect">
            <a:avLst/>
          </a:prstGeom>
          <a:noFill/>
        </p:spPr>
        <p:txBody>
          <a:bodyPr wrap="square" lIns="216000" tIns="0" rIns="0" bIns="11520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en-US" sz="1000" noProof="0" dirty="0">
                <a:solidFill>
                  <a:srgbClr val="000000"/>
                </a:solidFill>
              </a:rPr>
              <a:t>OpenChain reference tooling work group </a:t>
            </a:r>
          </a:p>
        </p:txBody>
      </p:sp>
      <p:sp>
        <p:nvSpPr>
          <p:cNvPr id="65" name="cdtTextBox 11 Id18"/>
          <p:cNvSpPr txBox="1"/>
          <p:nvPr userDrawn="1">
            <p:custDataLst>
              <p:tags r:id="rId34"/>
            </p:custDataLst>
          </p:nvPr>
        </p:nvSpPr>
        <p:spPr>
          <a:xfrm>
            <a:off x="4868070" y="6599754"/>
            <a:ext cx="2747960" cy="260350"/>
          </a:xfrm>
          <a:prstGeom prst="rect">
            <a:avLst/>
          </a:prstGeom>
          <a:noFill/>
        </p:spPr>
        <p:txBody>
          <a:bodyPr wrap="square" lIns="626400" tIns="0" rIns="0" bIns="115200" rtlCol="0" anchor="t" anchorCtr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en-US" sz="1000" noProof="0" dirty="0">
                <a:solidFill>
                  <a:srgbClr val="000000"/>
                </a:solidFill>
              </a:rPr>
              <a:t>Licensed under CC-BY-SA-4.0</a:t>
            </a:r>
          </a:p>
        </p:txBody>
      </p:sp>
      <p:sp>
        <p:nvSpPr>
          <p:cNvPr id="66" name="cdtTextBox 13 Id19"/>
          <p:cNvSpPr txBox="1"/>
          <p:nvPr userDrawn="1">
            <p:custDataLst>
              <p:tags r:id="rId35"/>
            </p:custDataLst>
          </p:nvPr>
        </p:nvSpPr>
        <p:spPr>
          <a:xfrm>
            <a:off x="3787765" y="6597650"/>
            <a:ext cx="8410584" cy="260350"/>
          </a:xfrm>
          <a:prstGeom prst="rect">
            <a:avLst/>
          </a:prstGeom>
          <a:noFill/>
        </p:spPr>
        <p:txBody>
          <a:bodyPr wrap="square" lIns="0" tIns="0" rIns="482400" bIns="115200" rtlCol="0">
            <a:noAutofit/>
          </a:bodyPr>
          <a:lstStyle/>
          <a:p>
            <a:pPr marL="0" marR="0" indent="0" algn="r" defTabSz="914400" rtl="0" eaLnBrk="1" fontAlgn="base" latinLnBrk="0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1000" baseline="0" noProof="0" dirty="0">
                <a:solidFill>
                  <a:srgbClr val="000000"/>
                </a:solidFill>
                <a:sym typeface="Wingdings"/>
              </a:rPr>
              <a:t>Oliver Fendt</a:t>
            </a:r>
            <a:endParaRPr lang="en-US" sz="1000" noProof="0" dirty="0">
              <a:solidFill>
                <a:srgbClr val="000000"/>
              </a:solidFill>
            </a:endParaRPr>
          </a:p>
        </p:txBody>
      </p:sp>
      <p:grpSp>
        <p:nvGrpSpPr>
          <p:cNvPr id="5" name="Gruppieren 4"/>
          <p:cNvGrpSpPr/>
          <p:nvPr userDrawn="1"/>
        </p:nvGrpSpPr>
        <p:grpSpPr>
          <a:xfrm>
            <a:off x="-216000" y="-216000"/>
            <a:ext cx="12628800" cy="7290000"/>
            <a:chOff x="-216000" y="-216000"/>
            <a:chExt cx="12628800" cy="7290000"/>
          </a:xfrm>
        </p:grpSpPr>
        <p:cxnSp>
          <p:nvCxnSpPr>
            <p:cNvPr id="3" name="Gerade Verbindung 2"/>
            <p:cNvCxnSpPr/>
            <p:nvPr userDrawn="1"/>
          </p:nvCxnSpPr>
          <p:spPr bwMode="auto">
            <a:xfrm>
              <a:off x="627063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6" name="Gerade Verbindung 35"/>
            <p:cNvCxnSpPr/>
            <p:nvPr userDrawn="1"/>
          </p:nvCxnSpPr>
          <p:spPr bwMode="auto">
            <a:xfrm>
              <a:off x="6099175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7" name="Gerade Verbindung 36"/>
            <p:cNvCxnSpPr/>
            <p:nvPr userDrawn="1"/>
          </p:nvCxnSpPr>
          <p:spPr bwMode="auto">
            <a:xfrm>
              <a:off x="62420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8" name="Gerade Verbindung 37"/>
            <p:cNvCxnSpPr/>
            <p:nvPr userDrawn="1"/>
          </p:nvCxnSpPr>
          <p:spPr bwMode="auto">
            <a:xfrm>
              <a:off x="8835479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9" name="Gerade Verbindung 38"/>
            <p:cNvCxnSpPr/>
            <p:nvPr userDrawn="1"/>
          </p:nvCxnSpPr>
          <p:spPr bwMode="auto">
            <a:xfrm>
              <a:off x="117157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2" name="Gerade Verbindung 51"/>
            <p:cNvCxnSpPr/>
            <p:nvPr userDrawn="1"/>
          </p:nvCxnSpPr>
          <p:spPr bwMode="auto">
            <a:xfrm>
              <a:off x="627063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3" name="Gerade Verbindung 52"/>
            <p:cNvCxnSpPr/>
            <p:nvPr userDrawn="1"/>
          </p:nvCxnSpPr>
          <p:spPr bwMode="auto">
            <a:xfrm>
              <a:off x="6099175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4" name="Gerade Verbindung 53"/>
            <p:cNvCxnSpPr/>
            <p:nvPr userDrawn="1"/>
          </p:nvCxnSpPr>
          <p:spPr bwMode="auto">
            <a:xfrm>
              <a:off x="62420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5" name="Gerade Verbindung 54"/>
            <p:cNvCxnSpPr/>
            <p:nvPr userDrawn="1"/>
          </p:nvCxnSpPr>
          <p:spPr bwMode="auto">
            <a:xfrm>
              <a:off x="8835479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6" name="Gerade Verbindung 55"/>
            <p:cNvCxnSpPr/>
            <p:nvPr userDrawn="1"/>
          </p:nvCxnSpPr>
          <p:spPr bwMode="auto">
            <a:xfrm>
              <a:off x="117157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7" name="Gerade Verbindung 56"/>
            <p:cNvCxnSpPr/>
            <p:nvPr userDrawn="1"/>
          </p:nvCxnSpPr>
          <p:spPr bwMode="auto">
            <a:xfrm rot="5400000">
              <a:off x="-1260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8" name="Gerade Verbindung 57"/>
            <p:cNvCxnSpPr/>
            <p:nvPr userDrawn="1"/>
          </p:nvCxnSpPr>
          <p:spPr bwMode="auto">
            <a:xfrm rot="5400000">
              <a:off x="-126000" y="88869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9" name="Gerade Verbindung 58"/>
            <p:cNvCxnSpPr/>
            <p:nvPr userDrawn="1"/>
          </p:nvCxnSpPr>
          <p:spPr bwMode="auto">
            <a:xfrm rot="5400000">
              <a:off x="-126000" y="132039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0" name="Gerade Verbindung 59"/>
            <p:cNvCxnSpPr/>
            <p:nvPr userDrawn="1"/>
          </p:nvCxnSpPr>
          <p:spPr bwMode="auto">
            <a:xfrm rot="5400000">
              <a:off x="-126000" y="3625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1" name="Gerade Verbindung 60"/>
            <p:cNvCxnSpPr/>
            <p:nvPr userDrawn="1"/>
          </p:nvCxnSpPr>
          <p:spPr bwMode="auto">
            <a:xfrm rot="5400000">
              <a:off x="-126000" y="3767981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2" name="Gerade Verbindung 61"/>
            <p:cNvCxnSpPr/>
            <p:nvPr userDrawn="1"/>
          </p:nvCxnSpPr>
          <p:spPr bwMode="auto">
            <a:xfrm rot="5400000">
              <a:off x="-126000" y="6072038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7" name="Gerade Verbindung 66"/>
            <p:cNvCxnSpPr/>
            <p:nvPr userDrawn="1"/>
          </p:nvCxnSpPr>
          <p:spPr bwMode="auto">
            <a:xfrm rot="5400000">
              <a:off x="-126000" y="168085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8" name="Gerade Verbindung 67"/>
            <p:cNvCxnSpPr/>
            <p:nvPr userDrawn="1"/>
          </p:nvCxnSpPr>
          <p:spPr bwMode="auto">
            <a:xfrm rot="5400000">
              <a:off x="-126000" y="571469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9" name="Gerade Verbindung 68"/>
            <p:cNvCxnSpPr/>
            <p:nvPr userDrawn="1"/>
          </p:nvCxnSpPr>
          <p:spPr bwMode="auto">
            <a:xfrm rot="5400000">
              <a:off x="123228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0" name="Gerade Verbindung 69"/>
            <p:cNvCxnSpPr/>
            <p:nvPr userDrawn="1"/>
          </p:nvCxnSpPr>
          <p:spPr bwMode="auto">
            <a:xfrm rot="5400000">
              <a:off x="12322800" y="88869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1" name="Gerade Verbindung 70"/>
            <p:cNvCxnSpPr/>
            <p:nvPr userDrawn="1"/>
          </p:nvCxnSpPr>
          <p:spPr bwMode="auto">
            <a:xfrm rot="5400000">
              <a:off x="12322800" y="132039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2" name="Gerade Verbindung 71"/>
            <p:cNvCxnSpPr/>
            <p:nvPr userDrawn="1"/>
          </p:nvCxnSpPr>
          <p:spPr bwMode="auto">
            <a:xfrm rot="5400000">
              <a:off x="12322800" y="3625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3" name="Gerade Verbindung 72"/>
            <p:cNvCxnSpPr/>
            <p:nvPr userDrawn="1"/>
          </p:nvCxnSpPr>
          <p:spPr bwMode="auto">
            <a:xfrm rot="5400000">
              <a:off x="12322800" y="3767981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4" name="Gerade Verbindung 73"/>
            <p:cNvCxnSpPr/>
            <p:nvPr userDrawn="1"/>
          </p:nvCxnSpPr>
          <p:spPr bwMode="auto">
            <a:xfrm rot="5400000">
              <a:off x="12322800" y="6072038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5" name="Gerade Verbindung 74"/>
            <p:cNvCxnSpPr/>
            <p:nvPr userDrawn="1"/>
          </p:nvCxnSpPr>
          <p:spPr bwMode="auto">
            <a:xfrm rot="5400000">
              <a:off x="12322800" y="168085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6" name="Gerade Verbindung 75"/>
            <p:cNvCxnSpPr/>
            <p:nvPr userDrawn="1"/>
          </p:nvCxnSpPr>
          <p:spPr bwMode="auto">
            <a:xfrm rot="5400000">
              <a:off x="12322800" y="571469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pic>
        <p:nvPicPr>
          <p:cNvPr id="77" name="Grafik 76">
            <a:extLst>
              <a:ext uri="{FF2B5EF4-FFF2-40B4-BE49-F238E27FC236}">
                <a16:creationId xmlns:a16="http://schemas.microsoft.com/office/drawing/2014/main" id="{03723B3C-FD82-49CB-97C7-5362C834ED78}"/>
              </a:ext>
            </a:extLst>
          </p:cNvPr>
          <p:cNvPicPr>
            <a:picLocks noChangeAspect="1"/>
          </p:cNvPicPr>
          <p:nvPr userDrawn="1"/>
        </p:nvPicPr>
        <p:blipFill>
          <a:blip r:embed="rId38"/>
          <a:stretch>
            <a:fillRect/>
          </a:stretch>
        </p:blipFill>
        <p:spPr>
          <a:xfrm>
            <a:off x="9719064" y="347810"/>
            <a:ext cx="1810295" cy="840470"/>
          </a:xfrm>
          <a:prstGeom prst="rect">
            <a:avLst/>
          </a:prstGeom>
        </p:spPr>
      </p:pic>
    </p:spTree>
    <p:custDataLst>
      <p:tags r:id="rId5"/>
    </p:custDataLst>
  </p:cSld>
  <p:clrMap bg1="lt1" tx1="dk1" bg2="lt2" tx2="dk2" accent1="accent1" accent2="accent2" accent3="accent3" accent4="accent4" accent5="accent5" accent6="accent6" hlink="hlink" folHlink="folHlink"/>
  <p:sldLayoutIdLst>
    <p:sldLayoutId id="2147483700" r:id="rId1"/>
    <p:sldLayoutId id="2147483708" r:id="rId2"/>
  </p:sldLayoutIdLst>
  <p:hf sldNum="0" hdr="0" ftr="0" dt="0"/>
  <p:txStyles>
    <p:titleStyle>
      <a:lvl1pPr algn="l" rtl="0" fontAlgn="base">
        <a:spcBef>
          <a:spcPct val="0"/>
        </a:spcBef>
        <a:spcAft>
          <a:spcPct val="0"/>
        </a:spcAft>
        <a:defRPr sz="2800" b="1">
          <a:solidFill>
            <a:schemeClr val="dk2"/>
          </a:solidFill>
          <a:latin typeface="Arial" pitchFamily="34" charset="0"/>
          <a:ea typeface="+mj-ea"/>
          <a:cs typeface="Arial" pitchFamily="34" charset="0"/>
        </a:defRPr>
      </a:lvl1pPr>
      <a:lvl2pPr algn="l" rtl="0" fontAlgn="base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2pPr>
      <a:lvl3pPr algn="l" rtl="0" fontAlgn="base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3pPr>
      <a:lvl4pPr algn="l" rtl="0" fontAlgn="base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4pPr>
      <a:lvl5pPr algn="l" rtl="0" fontAlgn="base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9pPr>
    </p:titleStyle>
    <p:bodyStyle>
      <a:lvl1pPr marL="0" indent="0" algn="l" rtl="0" fontAlgn="base">
        <a:lnSpc>
          <a:spcPct val="100000"/>
        </a:lnSpc>
        <a:spcBef>
          <a:spcPts val="600"/>
        </a:spcBef>
        <a:spcAft>
          <a:spcPct val="0"/>
        </a:spcAft>
        <a:buClr>
          <a:schemeClr val="accent1"/>
        </a:buClr>
        <a:buFont typeface="Arial" pitchFamily="34" charset="0"/>
        <a:buNone/>
        <a:tabLst/>
        <a:defRPr sz="24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179388" indent="-177800" algn="l" rtl="0" fontAlgn="base">
        <a:lnSpc>
          <a:spcPct val="100000"/>
        </a:lnSpc>
        <a:spcBef>
          <a:spcPts val="600"/>
        </a:spcBef>
        <a:spcAft>
          <a:spcPct val="0"/>
        </a:spcAft>
        <a:buClr>
          <a:schemeClr val="accent1"/>
        </a:buClr>
        <a:buChar char="•"/>
        <a:tabLst/>
        <a:defRPr sz="24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358775" indent="-177800" algn="l" rtl="0" fontAlgn="base">
        <a:lnSpc>
          <a:spcPct val="100000"/>
        </a:lnSpc>
        <a:spcBef>
          <a:spcPts val="600"/>
        </a:spcBef>
        <a:spcAft>
          <a:spcPct val="0"/>
        </a:spcAft>
        <a:buClr>
          <a:schemeClr val="accent1"/>
        </a:buClr>
        <a:buChar char="•"/>
        <a:tabLst/>
        <a:defRPr sz="24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538163" indent="-177800" algn="l" rtl="0" fontAlgn="base">
        <a:lnSpc>
          <a:spcPct val="100000"/>
        </a:lnSpc>
        <a:spcBef>
          <a:spcPts val="600"/>
        </a:spcBef>
        <a:spcAft>
          <a:spcPct val="0"/>
        </a:spcAft>
        <a:buClr>
          <a:schemeClr val="accent1"/>
        </a:buClr>
        <a:buChar char="•"/>
        <a:tabLst/>
        <a:defRPr sz="24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717550" indent="-177800" algn="l" rtl="0" fontAlgn="base">
        <a:lnSpc>
          <a:spcPct val="100000"/>
        </a:lnSpc>
        <a:spcBef>
          <a:spcPts val="600"/>
        </a:spcBef>
        <a:spcAft>
          <a:spcPct val="0"/>
        </a:spcAft>
        <a:buClr>
          <a:schemeClr val="accent1"/>
        </a:buClr>
        <a:buChar char="•"/>
        <a:tabLst/>
        <a:defRPr sz="2400" baseline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1220788" indent="-18891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Char char="§"/>
        <a:defRPr>
          <a:solidFill>
            <a:schemeClr val="tx1"/>
          </a:solidFill>
          <a:latin typeface="+mn-lt"/>
          <a:ea typeface="+mn-ea"/>
        </a:defRPr>
      </a:lvl6pPr>
      <a:lvl7pPr marL="1677988" indent="-18891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Char char="§"/>
        <a:defRPr>
          <a:solidFill>
            <a:schemeClr val="tx1"/>
          </a:solidFill>
          <a:latin typeface="+mn-lt"/>
          <a:ea typeface="+mn-ea"/>
        </a:defRPr>
      </a:lvl7pPr>
      <a:lvl8pPr marL="2135188" indent="-18891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Char char="§"/>
        <a:defRPr>
          <a:solidFill>
            <a:schemeClr val="tx1"/>
          </a:solidFill>
          <a:latin typeface="+mn-lt"/>
          <a:ea typeface="+mn-ea"/>
        </a:defRPr>
      </a:lvl8pPr>
      <a:lvl9pPr marL="2592388" indent="-18891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Char char="§"/>
        <a:defRPr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sfscon.it/" TargetMode="External"/><Relationship Id="rId2" Type="http://schemas.openxmlformats.org/officeDocument/2006/relationships/hyperlink" Target="https://www.openchainproject.org/featured/2020/11/16/openchain-webinar-tim-bird-of-sony" TargetMode="External"/><Relationship Id="rId1" Type="http://schemas.openxmlformats.org/officeDocument/2006/relationships/slideLayout" Target="../slideLayouts/slideLayout2.xml"/><Relationship Id="rId6" Type="http://schemas.openxmlformats.org/officeDocument/2006/relationships/hyperlink" Target="https://deepscan.trustsource.io/" TargetMode="External"/><Relationship Id="rId5" Type="http://schemas.openxmlformats.org/officeDocument/2006/relationships/hyperlink" Target="https://github.com/trustsource/ts-deepscan" TargetMode="External"/><Relationship Id="rId4" Type="http://schemas.openxmlformats.org/officeDocument/2006/relationships/hyperlink" Target="https://events.linuxfoundation.org/open-compliance-summit/program/schedule/" TargetMode="Externa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hyperlink" Target="https://github.com/Open-Source-Compliance/tdosca" TargetMode="External"/><Relationship Id="rId2" Type="http://schemas.openxmlformats.org/officeDocument/2006/relationships/hyperlink" Target="https://fossa-com.cdn.ampproject.org/c/s/fossa.com/blog/heather-meeker-open-source-license-notices-automation/amp/" TargetMode="Externa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hyperlink" Target="https://join.slack.com/t/ossbasedcompl-bhx9742/shared_invite/enQtODE2MTMxNzUyNDY1LWQyNWVlNzkyMjhhOWUyNDdjNDJlMzk0YzU0NDUwNzQ2YzY0Mzc1N2Y2NjhhZGEyN2JmNDE0ZTg2MTBjYmM3MWI" TargetMode="External"/><Relationship Id="rId2" Type="http://schemas.openxmlformats.org/officeDocument/2006/relationships/hyperlink" Target="https://github.com/Open-Source-Compliance/Sharing-creates-value" TargetMode="External"/><Relationship Id="rId1" Type="http://schemas.openxmlformats.org/officeDocument/2006/relationships/slideLayout" Target="../slideLayouts/slideLayout2.xml"/><Relationship Id="rId5" Type="http://schemas.openxmlformats.org/officeDocument/2006/relationships/hyperlink" Target="mailto:oss-based-compliance-tooling@groups.io" TargetMode="External"/><Relationship Id="rId4" Type="http://schemas.openxmlformats.org/officeDocument/2006/relationships/hyperlink" Target="https://groups.io/g/oss-based-compliance-tooling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E5E8095-FD68-48D1-A4D9-1B98FDFC36C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27063" y="3646847"/>
            <a:ext cx="6480000" cy="2155648"/>
          </a:xfrm>
        </p:spPr>
        <p:txBody>
          <a:bodyPr/>
          <a:lstStyle/>
          <a:p>
            <a:r>
              <a:rPr lang="en-US" dirty="0"/>
              <a:t>25th meeting OpenChain reference tooling work group</a:t>
            </a: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383358D8-CAB8-45B0-BF03-480BD185B0A5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0748E876-854A-4B62-82CE-E7CB07289EE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27062" y="5907600"/>
            <a:ext cx="3429931" cy="324000"/>
          </a:xfrm>
        </p:spPr>
        <p:txBody>
          <a:bodyPr/>
          <a:lstStyle/>
          <a:p>
            <a:r>
              <a:rPr lang="de-DE" dirty="0"/>
              <a:t>The </a:t>
            </a:r>
            <a:r>
              <a:rPr lang="en-US" dirty="0"/>
              <a:t>OpenChain reference tooling work group </a:t>
            </a:r>
            <a:r>
              <a:rPr lang="de-DE" dirty="0"/>
              <a:t>2020</a:t>
            </a:r>
          </a:p>
        </p:txBody>
      </p:sp>
    </p:spTree>
    <p:extLst>
      <p:ext uri="{BB962C8B-B14F-4D97-AF65-F5344CB8AC3E}">
        <p14:creationId xmlns:p14="http://schemas.microsoft.com/office/powerpoint/2010/main" val="348026944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1DEFFF5F-85DD-48EA-8554-D67B0FB4E5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genda</a:t>
            </a: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2DD8CDB0-EB44-4C4C-811C-C3992BFF482B}"/>
              </a:ext>
            </a:extLst>
          </p:cNvPr>
          <p:cNvSpPr txBox="1"/>
          <p:nvPr/>
        </p:nvSpPr>
        <p:spPr>
          <a:xfrm>
            <a:off x="1325461" y="5016617"/>
            <a:ext cx="8118376" cy="37750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ＭＳ Ｐゴシック" charset="-128"/>
              <a:cs typeface="+mn-cs"/>
            </a:endParaRPr>
          </a:p>
        </p:txBody>
      </p:sp>
      <p:graphicFrame>
        <p:nvGraphicFramePr>
          <p:cNvPr id="6" name="Tabelle 5">
            <a:extLst>
              <a:ext uri="{FF2B5EF4-FFF2-40B4-BE49-F238E27FC236}">
                <a16:creationId xmlns:a16="http://schemas.microsoft.com/office/drawing/2014/main" id="{EC61A458-9758-4014-B1C9-5BCC290694B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41039573"/>
              </p:ext>
            </p:extLst>
          </p:nvPr>
        </p:nvGraphicFramePr>
        <p:xfrm>
          <a:off x="1306286" y="2152773"/>
          <a:ext cx="8137551" cy="14833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99351">
                  <a:extLst>
                    <a:ext uri="{9D8B030D-6E8A-4147-A177-3AD203B41FA5}">
                      <a16:colId xmlns:a16="http://schemas.microsoft.com/office/drawing/2014/main" val="3406984164"/>
                    </a:ext>
                  </a:extLst>
                </a:gridCol>
                <a:gridCol w="4627456">
                  <a:extLst>
                    <a:ext uri="{9D8B030D-6E8A-4147-A177-3AD203B41FA5}">
                      <a16:colId xmlns:a16="http://schemas.microsoft.com/office/drawing/2014/main" val="1580078002"/>
                    </a:ext>
                  </a:extLst>
                </a:gridCol>
                <a:gridCol w="2710744">
                  <a:extLst>
                    <a:ext uri="{9D8B030D-6E8A-4147-A177-3AD203B41FA5}">
                      <a16:colId xmlns:a16="http://schemas.microsoft.com/office/drawing/2014/main" val="3542324099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Top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Nam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Actor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020803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800" noProof="0">
                          <a:effectLst/>
                          <a:latin typeface="+mn-lt"/>
                          <a:ea typeface="Calibri" panose="020F0502020204030204" pitchFamily="34" charset="0"/>
                        </a:rPr>
                        <a:t>1. </a:t>
                      </a:r>
                      <a:endParaRPr lang="en-US" sz="1800" noProof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noProof="0" dirty="0">
                          <a:effectLst/>
                          <a:latin typeface="+mn-lt"/>
                          <a:ea typeface="Calibri" panose="020F0502020204030204" pitchFamily="34" charset="0"/>
                        </a:rPr>
                        <a:t>News     </a:t>
                      </a:r>
                      <a:endParaRPr lang="en-US" sz="1800" noProof="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noProof="0" dirty="0">
                          <a:effectLst/>
                          <a:latin typeface="+mn-lt"/>
                          <a:ea typeface="Calibri" panose="020F0502020204030204" pitchFamily="34" charset="0"/>
                        </a:rPr>
                        <a:t> All</a:t>
                      </a:r>
                      <a:endParaRPr lang="en-US" sz="1800" noProof="0" dirty="0">
                        <a:latin typeface="+mn-lt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5977189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noProof="0"/>
                        <a:t>2.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dentification of component information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Jan</a:t>
                      </a:r>
                      <a:endParaRPr lang="en-US" noProof="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256161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noProof="0" dirty="0"/>
                        <a:t>3.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OB</a:t>
                      </a:r>
                      <a:endParaRPr lang="en-US" noProof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noProof="0" dirty="0"/>
                        <a:t>All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06791586"/>
                  </a:ext>
                </a:extLst>
              </a:tr>
            </a:tbl>
          </a:graphicData>
        </a:graphic>
      </p:graphicFrame>
      <p:sp>
        <p:nvSpPr>
          <p:cNvPr id="2" name="Textfeld 1">
            <a:extLst>
              <a:ext uri="{FF2B5EF4-FFF2-40B4-BE49-F238E27FC236}">
                <a16:creationId xmlns:a16="http://schemas.microsoft.com/office/drawing/2014/main" id="{11754812-2D95-1647-88FF-F7FDD726870B}"/>
              </a:ext>
            </a:extLst>
          </p:cNvPr>
          <p:cNvSpPr txBox="1"/>
          <p:nvPr/>
        </p:nvSpPr>
        <p:spPr>
          <a:xfrm>
            <a:off x="11239928" y="6575461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endParaRPr lang="en-US" sz="1400" dirty="0" err="1">
              <a:solidFill>
                <a:schemeClr val="tx1"/>
              </a:solidFill>
            </a:endParaRPr>
          </a:p>
        </p:txBody>
      </p:sp>
      <p:sp>
        <p:nvSpPr>
          <p:cNvPr id="3" name="Textfeld 2">
            <a:extLst>
              <a:ext uri="{FF2B5EF4-FFF2-40B4-BE49-F238E27FC236}">
                <a16:creationId xmlns:a16="http://schemas.microsoft.com/office/drawing/2014/main" id="{29BD8F8D-97F8-0C4B-8123-C0201CE688B7}"/>
              </a:ext>
            </a:extLst>
          </p:cNvPr>
          <p:cNvSpPr txBox="1"/>
          <p:nvPr/>
        </p:nvSpPr>
        <p:spPr>
          <a:xfrm>
            <a:off x="11157735" y="6688476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endParaRPr lang="en-US" sz="1400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0831356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1DEFFF5F-85DD-48EA-8554-D67B0FB4E5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ea typeface="Calibri" panose="020F0502020204030204" pitchFamily="34" charset="0"/>
              </a:rPr>
              <a:t>News</a:t>
            </a:r>
            <a:endParaRPr lang="de-DE" dirty="0"/>
          </a:p>
        </p:txBody>
      </p:sp>
      <p:sp>
        <p:nvSpPr>
          <p:cNvPr id="4" name="Textfeld 3">
            <a:extLst>
              <a:ext uri="{FF2B5EF4-FFF2-40B4-BE49-F238E27FC236}">
                <a16:creationId xmlns:a16="http://schemas.microsoft.com/office/drawing/2014/main" id="{5E8BFEBF-E217-44B9-BC8D-003A9F5E85B7}"/>
              </a:ext>
            </a:extLst>
          </p:cNvPr>
          <p:cNvSpPr txBox="1"/>
          <p:nvPr/>
        </p:nvSpPr>
        <p:spPr>
          <a:xfrm>
            <a:off x="668046" y="1537955"/>
            <a:ext cx="10670514" cy="48515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endParaRPr lang="en-US" dirty="0"/>
          </a:p>
          <a:p>
            <a:pPr marL="285750" indent="-285750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/>
                </a:solidFill>
              </a:rPr>
              <a:t>Tim Bird from Sony reported about OSC @ Sony</a:t>
            </a:r>
            <a:br>
              <a:rPr lang="en-US" dirty="0">
                <a:solidFill>
                  <a:schemeClr val="tx1"/>
                </a:solidFill>
              </a:rPr>
            </a:br>
            <a:r>
              <a:rPr lang="de-DE" dirty="0">
                <a:hlinkClick r:id="rId2"/>
              </a:rPr>
              <a:t>https://www.openchainproject.org/featured/2020/11/16/openchain-webinar-tim-bird-of-sony</a:t>
            </a:r>
            <a:endParaRPr lang="de-DE" dirty="0"/>
          </a:p>
          <a:p>
            <a:pPr marL="285750" indent="-285750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endParaRPr lang="de-DE" dirty="0">
              <a:solidFill>
                <a:schemeClr val="tx1"/>
              </a:solidFill>
            </a:endParaRPr>
          </a:p>
          <a:p>
            <a:pPr marL="285750" indent="-285750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de-DE" dirty="0">
                <a:solidFill>
                  <a:schemeClr val="tx1"/>
                </a:solidFill>
              </a:rPr>
              <a:t>Updates </a:t>
            </a:r>
            <a:r>
              <a:rPr lang="de-DE" dirty="0" err="1">
                <a:solidFill>
                  <a:schemeClr val="tx1"/>
                </a:solidFill>
              </a:rPr>
              <a:t>from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SFSCon</a:t>
            </a:r>
            <a:br>
              <a:rPr lang="de-DE" dirty="0">
                <a:solidFill>
                  <a:schemeClr val="tx1"/>
                </a:solidFill>
              </a:rPr>
            </a:br>
            <a:r>
              <a:rPr lang="de-DE" dirty="0">
                <a:solidFill>
                  <a:schemeClr val="tx1"/>
                </a:solidFill>
              </a:rPr>
              <a:t>find </a:t>
            </a:r>
            <a:r>
              <a:rPr lang="de-DE" dirty="0" err="1">
                <a:solidFill>
                  <a:schemeClr val="tx1"/>
                </a:solidFill>
              </a:rPr>
              <a:t>speeches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recorded</a:t>
            </a:r>
            <a:r>
              <a:rPr lang="de-DE" dirty="0">
                <a:solidFill>
                  <a:schemeClr val="tx1"/>
                </a:solidFill>
              </a:rPr>
              <a:t> at </a:t>
            </a:r>
            <a:r>
              <a:rPr lang="de-DE" dirty="0">
                <a:solidFill>
                  <a:schemeClr val="tx1"/>
                </a:solidFill>
                <a:hlinkClick r:id="rId3"/>
              </a:rPr>
              <a:t>https://www.sfscon.it</a:t>
            </a:r>
            <a:r>
              <a:rPr lang="de-DE" dirty="0">
                <a:solidFill>
                  <a:schemeClr val="tx1"/>
                </a:solidFill>
              </a:rPr>
              <a:t> (scroll down </a:t>
            </a:r>
            <a:r>
              <a:rPr lang="de-DE" dirty="0" err="1">
                <a:solidFill>
                  <a:schemeClr val="tx1"/>
                </a:solidFill>
              </a:rPr>
              <a:t>for</a:t>
            </a:r>
            <a:r>
              <a:rPr lang="de-DE" dirty="0">
                <a:solidFill>
                  <a:schemeClr val="tx1"/>
                </a:solidFill>
              </a:rPr>
              <a:t> live </a:t>
            </a:r>
            <a:r>
              <a:rPr lang="de-DE" dirty="0" err="1">
                <a:solidFill>
                  <a:schemeClr val="tx1"/>
                </a:solidFill>
              </a:rPr>
              <a:t>streaming</a:t>
            </a:r>
            <a:r>
              <a:rPr lang="de-DE" dirty="0">
                <a:solidFill>
                  <a:schemeClr val="tx1"/>
                </a:solidFill>
              </a:rPr>
              <a:t>)</a:t>
            </a:r>
            <a:endParaRPr lang="en-US" dirty="0">
              <a:solidFill>
                <a:schemeClr val="tx1"/>
              </a:solidFill>
            </a:endParaRPr>
          </a:p>
          <a:p>
            <a:pPr marL="285750" indent="-285750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endParaRPr lang="en-US" dirty="0">
              <a:solidFill>
                <a:schemeClr val="tx1"/>
              </a:solidFill>
            </a:endParaRPr>
          </a:p>
          <a:p>
            <a:pPr marL="285750" indent="-285750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/>
                </a:solidFill>
              </a:rPr>
              <a:t>Open Compliance Summit will take place at 1</a:t>
            </a:r>
            <a:r>
              <a:rPr lang="en-US" baseline="30000" dirty="0">
                <a:solidFill>
                  <a:schemeClr val="tx1"/>
                </a:solidFill>
              </a:rPr>
              <a:t>st</a:t>
            </a:r>
            <a:r>
              <a:rPr lang="en-US" dirty="0">
                <a:solidFill>
                  <a:schemeClr val="tx1"/>
                </a:solidFill>
              </a:rPr>
              <a:t> of Dec</a:t>
            </a:r>
            <a:br>
              <a:rPr lang="en-US" dirty="0">
                <a:solidFill>
                  <a:schemeClr val="tx1"/>
                </a:solidFill>
              </a:rPr>
            </a:br>
            <a:r>
              <a:rPr lang="en-US" dirty="0">
                <a:hlinkClick r:id="rId4"/>
              </a:rPr>
              <a:t>https://events.linuxfoundation.org/open-compliance-summit/program/schedule/</a:t>
            </a:r>
            <a:endParaRPr lang="en-US" dirty="0"/>
          </a:p>
          <a:p>
            <a:pPr marL="742950" lvl="1" indent="-285750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endParaRPr lang="en-US" dirty="0">
              <a:solidFill>
                <a:schemeClr val="tx1"/>
              </a:solidFill>
            </a:endParaRPr>
          </a:p>
          <a:p>
            <a:pPr marL="285750" indent="-285750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US" dirty="0" err="1">
                <a:solidFill>
                  <a:schemeClr val="tx1"/>
                </a:solidFill>
              </a:rPr>
              <a:t>TrustSource</a:t>
            </a:r>
            <a:r>
              <a:rPr lang="en-US" dirty="0">
                <a:solidFill>
                  <a:schemeClr val="tx1"/>
                </a:solidFill>
              </a:rPr>
              <a:t> </a:t>
            </a:r>
            <a:r>
              <a:rPr lang="en-US" dirty="0" err="1">
                <a:solidFill>
                  <a:schemeClr val="tx1"/>
                </a:solidFill>
              </a:rPr>
              <a:t>DeepScan</a:t>
            </a:r>
            <a:r>
              <a:rPr lang="en-US" dirty="0">
                <a:solidFill>
                  <a:schemeClr val="tx1"/>
                </a:solidFill>
              </a:rPr>
              <a:t> (repository scan for effective licenses &amp; copyright) CLI is available at</a:t>
            </a:r>
            <a:br>
              <a:rPr lang="en-US" dirty="0">
                <a:solidFill>
                  <a:schemeClr val="tx1"/>
                </a:solidFill>
              </a:rPr>
            </a:br>
            <a:r>
              <a:rPr lang="en-US" dirty="0">
                <a:solidFill>
                  <a:schemeClr val="tx1"/>
                </a:solidFill>
                <a:hlinkClick r:id="rId5"/>
              </a:rPr>
              <a:t>https://github.com/trustsource/ts-deepscan</a:t>
            </a:r>
            <a:r>
              <a:rPr lang="en-US" dirty="0">
                <a:solidFill>
                  <a:schemeClr val="tx1"/>
                </a:solidFill>
              </a:rPr>
              <a:t> </a:t>
            </a:r>
            <a:br>
              <a:rPr lang="en-US" dirty="0">
                <a:solidFill>
                  <a:schemeClr val="tx1"/>
                </a:solidFill>
              </a:rPr>
            </a:br>
            <a:br>
              <a:rPr lang="en-US" dirty="0">
                <a:solidFill>
                  <a:schemeClr val="tx1"/>
                </a:solidFill>
              </a:rPr>
            </a:br>
            <a:r>
              <a:rPr lang="en-US" dirty="0">
                <a:solidFill>
                  <a:schemeClr val="tx1"/>
                </a:solidFill>
              </a:rPr>
              <a:t>Hosted scanning Service is available at</a:t>
            </a:r>
            <a:br>
              <a:rPr lang="en-US" dirty="0">
                <a:solidFill>
                  <a:schemeClr val="tx1"/>
                </a:solidFill>
              </a:rPr>
            </a:br>
            <a:r>
              <a:rPr lang="en-US" dirty="0">
                <a:solidFill>
                  <a:schemeClr val="tx1"/>
                </a:solidFill>
                <a:hlinkClick r:id="rId6"/>
              </a:rPr>
              <a:t>https://deepscan.trustsource.io</a:t>
            </a:r>
            <a:r>
              <a:rPr lang="en-US" dirty="0">
                <a:solidFill>
                  <a:schemeClr val="tx1"/>
                </a:solidFill>
              </a:rPr>
              <a:t> </a:t>
            </a:r>
            <a:br>
              <a:rPr lang="en-US" dirty="0">
                <a:solidFill>
                  <a:schemeClr val="tx1"/>
                </a:solidFill>
              </a:rPr>
            </a:br>
            <a:endParaRPr lang="en-US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7668595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1DEFFF5F-85DD-48EA-8554-D67B0FB4E5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genda</a:t>
            </a: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2DD8CDB0-EB44-4C4C-811C-C3992BFF482B}"/>
              </a:ext>
            </a:extLst>
          </p:cNvPr>
          <p:cNvSpPr txBox="1"/>
          <p:nvPr/>
        </p:nvSpPr>
        <p:spPr>
          <a:xfrm>
            <a:off x="1325461" y="5016617"/>
            <a:ext cx="8118376" cy="37750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ＭＳ Ｐゴシック" charset="-128"/>
              <a:cs typeface="+mn-cs"/>
            </a:endParaRPr>
          </a:p>
        </p:txBody>
      </p:sp>
      <p:graphicFrame>
        <p:nvGraphicFramePr>
          <p:cNvPr id="6" name="Tabelle 5">
            <a:extLst>
              <a:ext uri="{FF2B5EF4-FFF2-40B4-BE49-F238E27FC236}">
                <a16:creationId xmlns:a16="http://schemas.microsoft.com/office/drawing/2014/main" id="{EC61A458-9758-4014-B1C9-5BCC290694B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31858186"/>
              </p:ext>
            </p:extLst>
          </p:nvPr>
        </p:nvGraphicFramePr>
        <p:xfrm>
          <a:off x="1306286" y="2152773"/>
          <a:ext cx="8137551" cy="14833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99351">
                  <a:extLst>
                    <a:ext uri="{9D8B030D-6E8A-4147-A177-3AD203B41FA5}">
                      <a16:colId xmlns:a16="http://schemas.microsoft.com/office/drawing/2014/main" val="3406984164"/>
                    </a:ext>
                  </a:extLst>
                </a:gridCol>
                <a:gridCol w="4627456">
                  <a:extLst>
                    <a:ext uri="{9D8B030D-6E8A-4147-A177-3AD203B41FA5}">
                      <a16:colId xmlns:a16="http://schemas.microsoft.com/office/drawing/2014/main" val="1580078002"/>
                    </a:ext>
                  </a:extLst>
                </a:gridCol>
                <a:gridCol w="2710744">
                  <a:extLst>
                    <a:ext uri="{9D8B030D-6E8A-4147-A177-3AD203B41FA5}">
                      <a16:colId xmlns:a16="http://schemas.microsoft.com/office/drawing/2014/main" val="3542324099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Top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Nam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Actor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020803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800" noProof="0">
                          <a:effectLst/>
                          <a:latin typeface="+mn-lt"/>
                          <a:ea typeface="Calibri" panose="020F0502020204030204" pitchFamily="34" charset="0"/>
                        </a:rPr>
                        <a:t>1. </a:t>
                      </a:r>
                      <a:endParaRPr lang="en-US" sz="1800" noProof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noProof="0" dirty="0">
                          <a:effectLst/>
                          <a:latin typeface="+mn-lt"/>
                          <a:ea typeface="Calibri" panose="020F0502020204030204" pitchFamily="34" charset="0"/>
                        </a:rPr>
                        <a:t>News     </a:t>
                      </a:r>
                      <a:endParaRPr lang="en-US" sz="1800" noProof="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noProof="0" dirty="0">
                          <a:effectLst/>
                          <a:latin typeface="+mn-lt"/>
                          <a:ea typeface="Calibri" panose="020F0502020204030204" pitchFamily="34" charset="0"/>
                        </a:rPr>
                        <a:t> All</a:t>
                      </a:r>
                      <a:endParaRPr lang="en-US" sz="1800" noProof="0" dirty="0">
                        <a:latin typeface="+mn-lt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5977189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noProof="0" dirty="0"/>
                        <a:t>2.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dentification of component information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Jan Thielscher</a:t>
                      </a:r>
                      <a:endParaRPr lang="en-US" noProof="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256161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noProof="0" dirty="0"/>
                        <a:t>3.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OB</a:t>
                      </a:r>
                      <a:endParaRPr lang="en-US" noProof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noProof="0" dirty="0"/>
                        <a:t>All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0679158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85850707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E534EF7-7EC7-8E47-9093-9A9A939B6A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ublic Meta data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39583F12-89DD-8049-A221-F1F5BDB4946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27062" y="1412875"/>
            <a:ext cx="11088687" cy="5109091"/>
          </a:xfrm>
        </p:spPr>
        <p:txBody>
          <a:bodyPr/>
          <a:lstStyle/>
          <a:p>
            <a:r>
              <a:rPr lang="en-US" sz="1600" dirty="0"/>
              <a:t>What would be required by a public meta data repository to be reliable?</a:t>
            </a:r>
          </a:p>
          <a:p>
            <a:endParaRPr lang="en-US" sz="1600" dirty="0"/>
          </a:p>
          <a:p>
            <a:r>
              <a:rPr lang="en-US" sz="1600" dirty="0"/>
              <a:t>Responses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Transparency of where the information/decision comes from</a:t>
            </a:r>
          </a:p>
          <a:p>
            <a:pPr marL="465138" lvl="1" indent="-285750">
              <a:buFont typeface="Arial" panose="020B0604020202020204" pitchFamily="34" charset="0"/>
              <a:buChar char="•"/>
            </a:pPr>
            <a:r>
              <a:rPr lang="en-US" sz="1600" dirty="0"/>
              <a:t>What has been the mechanism for scanning?</a:t>
            </a:r>
          </a:p>
          <a:p>
            <a:pPr marL="465138" lvl="1" indent="-285750">
              <a:buFont typeface="Arial" panose="020B0604020202020204" pitchFamily="34" charset="0"/>
              <a:buChar char="•"/>
            </a:pPr>
            <a:r>
              <a:rPr lang="en-US" sz="1600" dirty="0"/>
              <a:t>What has been executing the scan?</a:t>
            </a:r>
          </a:p>
          <a:p>
            <a:pPr marL="465138" lvl="1" indent="-285750">
              <a:buFont typeface="Arial" panose="020B0604020202020204" pitchFamily="34" charset="0"/>
              <a:buChar char="•"/>
            </a:pPr>
            <a:r>
              <a:rPr lang="en-US" sz="1600" dirty="0"/>
              <a:t>Has it been verified / confirmed by more than one OS-office/use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600" dirty="0"/>
          </a:p>
          <a:p>
            <a:pPr marL="465138" lvl="1" indent="-285750">
              <a:buFont typeface="Arial" panose="020B0604020202020204" pitchFamily="34" charset="0"/>
              <a:buChar char="•"/>
            </a:pPr>
            <a:r>
              <a:rPr lang="en-US" sz="1600" dirty="0"/>
              <a:t>Potential mechanism could be like crowd sourced, voting or pull requests</a:t>
            </a:r>
          </a:p>
          <a:p>
            <a:pPr marL="465138" lvl="1" indent="-285750">
              <a:buFont typeface="Arial" panose="020B0604020202020204" pitchFamily="34" charset="0"/>
              <a:buChar char="•"/>
            </a:pPr>
            <a:r>
              <a:rPr lang="en-US" sz="1600" dirty="0"/>
              <a:t>SPDX v3 will differentiate information into modules to describe specific aspects as well as conclude who has been submitting this information (e.g. certificate e based)</a:t>
            </a:r>
          </a:p>
          <a:p>
            <a:pPr marL="465138" lvl="1" indent="-285750">
              <a:buFont typeface="Arial" panose="020B0604020202020204" pitchFamily="34" charset="0"/>
              <a:buChar char="•"/>
            </a:pPr>
            <a:endParaRPr lang="en-US" sz="1600" dirty="0"/>
          </a:p>
          <a:p>
            <a:pPr marL="465138" lvl="1" indent="-285750">
              <a:buFont typeface="Arial" panose="020B0604020202020204" pitchFamily="34" charset="0"/>
              <a:buChar char="•"/>
            </a:pPr>
            <a:r>
              <a:rPr lang="en-US" sz="1600" dirty="0"/>
              <a:t>Link between original source and binary build needs to be kept, so that the applicability of meta information can be ensured</a:t>
            </a:r>
          </a:p>
          <a:p>
            <a:pPr marL="465138" lvl="1" indent="-285750">
              <a:buFont typeface="Arial" panose="020B0604020202020204" pitchFamily="34" charset="0"/>
              <a:buChar char="•"/>
            </a:pPr>
            <a:r>
              <a:rPr lang="en-US" sz="1600" dirty="0"/>
              <a:t>E.g. SPDX keeps hashes on file-level to ensure which sources have been used for a particular binary</a:t>
            </a:r>
          </a:p>
          <a:p>
            <a:pPr marL="465138" lvl="1" indent="-285750">
              <a:buFont typeface="Arial" panose="020B0604020202020204" pitchFamily="34" charset="0"/>
              <a:buChar char="•"/>
            </a:pPr>
            <a:endParaRPr lang="en-US" sz="1600" dirty="0"/>
          </a:p>
          <a:p>
            <a:pPr marL="465138" lvl="1" indent="-285750">
              <a:buFont typeface="Arial" panose="020B0604020202020204" pitchFamily="34" charset="0"/>
              <a:buChar char="•"/>
            </a:pPr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382749624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8C21CEB-CBF9-5348-A465-7B8E8DB1730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urther topics of interest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97CC62A3-1211-7F4D-8B63-EC443786C26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27062" y="1412875"/>
            <a:ext cx="11088687" cy="3539430"/>
          </a:xfrm>
        </p:spPr>
        <p:txBody>
          <a:bodyPr/>
          <a:lstStyle/>
          <a:p>
            <a:r>
              <a:rPr lang="en-US" sz="1600" dirty="0"/>
              <a:t>Say refers to an interesting statement on the publication of sources by Heather Meeker</a:t>
            </a:r>
            <a:br>
              <a:rPr lang="en-US" sz="1600" dirty="0"/>
            </a:br>
            <a:r>
              <a:rPr lang="de-DE" u="sng" dirty="0">
                <a:hlinkClick r:id="rId2" tooltip="https://fossa-com.cdn.ampproject.org/c/s/fossa.com/blog/heather-meeker-open-source-license-notices-automation/amp/"/>
              </a:rPr>
              <a:t>https://fossa-com.cdn.ampproject.org/c/s/fossa.com/blog/heather-meeker-open-source-license-notices-automation/amp/</a:t>
            </a:r>
            <a:endParaRPr lang="de-DE" dirty="0"/>
          </a:p>
          <a:p>
            <a:endParaRPr lang="en-US" sz="1600"/>
          </a:p>
          <a:p>
            <a:endParaRPr lang="en-US" sz="1600" dirty="0"/>
          </a:p>
          <a:p>
            <a:r>
              <a:rPr lang="en-US" sz="1600" dirty="0"/>
              <a:t>Steven requested that it might be useful to have a kind of best practices for Open Source Office handling of OS projects failing to comply with their own diligence.</a:t>
            </a:r>
          </a:p>
          <a:p>
            <a:pPr marL="465138" lvl="1" indent="-285750">
              <a:buFont typeface="Arial" panose="020B0604020202020204" pitchFamily="34" charset="0"/>
              <a:buChar char="•"/>
            </a:pPr>
            <a:r>
              <a:rPr lang="en-US" sz="1600" dirty="0"/>
              <a:t>How to best contact OS-projects to fix compliance issues (e.g. pull request or issue?)</a:t>
            </a:r>
          </a:p>
          <a:p>
            <a:pPr marL="465138" lvl="1" indent="-285750">
              <a:buFont typeface="Arial" panose="020B0604020202020204" pitchFamily="34" charset="0"/>
              <a:buChar char="•"/>
            </a:pPr>
            <a:endParaRPr lang="en-US" sz="1600" dirty="0"/>
          </a:p>
          <a:p>
            <a:pPr marL="465138" lvl="1" indent="-285750">
              <a:buFont typeface="Arial" panose="020B0604020202020204" pitchFamily="34" charset="0"/>
              <a:buChar char="•"/>
            </a:pPr>
            <a:endParaRPr lang="en-US" sz="1600" dirty="0"/>
          </a:p>
          <a:p>
            <a:r>
              <a:rPr lang="en-US" sz="1600" dirty="0"/>
              <a:t>Daniel reports that he did not receive any issues / pull requests to support the collection of test cases whereby the collection will be a great approach to  improve quality of scanners and tooling.</a:t>
            </a:r>
          </a:p>
          <a:p>
            <a:pPr marL="465138" lvl="1" indent="-285750">
              <a:buFont typeface="Arial" panose="020B0604020202020204" pitchFamily="34" charset="0"/>
              <a:buChar char="•"/>
            </a:pPr>
            <a:r>
              <a:rPr lang="en-US" sz="1600" dirty="0"/>
              <a:t>Please review </a:t>
            </a:r>
            <a:r>
              <a:rPr lang="en-US" sz="1600" dirty="0">
                <a:hlinkClick r:id="rId3"/>
              </a:rPr>
              <a:t>https://github.com/Open-Source-Compliance/tdosca</a:t>
            </a:r>
            <a:r>
              <a:rPr lang="en-US" sz="1600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37486021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1DEFFF5F-85DD-48EA-8554-D67B0FB4E5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ea typeface="Calibri" panose="020F0502020204030204" pitchFamily="34" charset="0"/>
              </a:rPr>
              <a:t>Next meeting</a:t>
            </a:r>
            <a:endParaRPr lang="de-DE" dirty="0"/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95A0FCD6-A49A-446E-A6FD-85F3FFA38D38}"/>
              </a:ext>
            </a:extLst>
          </p:cNvPr>
          <p:cNvSpPr txBox="1"/>
          <p:nvPr/>
        </p:nvSpPr>
        <p:spPr>
          <a:xfrm>
            <a:off x="668046" y="1764954"/>
            <a:ext cx="10670514" cy="149983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en-US" dirty="0">
                <a:solidFill>
                  <a:schemeClr val="tx1"/>
                </a:solidFill>
              </a:rPr>
              <a:t>Will be December 2nd 2020, same time, invitation will be sent out accordingly</a:t>
            </a:r>
          </a:p>
          <a:p>
            <a:pPr>
              <a:lnSpc>
                <a:spcPct val="110000"/>
              </a:lnSpc>
              <a:spcBef>
                <a:spcPts val="0"/>
              </a:spcBef>
            </a:pPr>
            <a:endParaRPr lang="en-US" dirty="0">
              <a:solidFill>
                <a:schemeClr val="tx1"/>
              </a:solidFill>
            </a:endParaRPr>
          </a:p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en-US" dirty="0" err="1">
                <a:solidFill>
                  <a:schemeClr val="tx1"/>
                </a:solidFill>
              </a:rPr>
              <a:t>Alexios</a:t>
            </a:r>
            <a:r>
              <a:rPr lang="en-US" dirty="0">
                <a:solidFill>
                  <a:schemeClr val="tx1"/>
                </a:solidFill>
              </a:rPr>
              <a:t> will introduce into SPDX v3 changes (modularity, partial exports, etc.) to come </a:t>
            </a:r>
          </a:p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en-US" dirty="0">
                <a:solidFill>
                  <a:schemeClr val="tx1"/>
                </a:solidFill>
              </a:rPr>
              <a:t>Group shall prepare to collect requirements, so that a feedback to SPDX v3 form this group will be possible</a:t>
            </a:r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73FE3260-A5C6-274D-B3C2-670B78660D19}"/>
              </a:ext>
            </a:extLst>
          </p:cNvPr>
          <p:cNvSpPr txBox="1"/>
          <p:nvPr/>
        </p:nvSpPr>
        <p:spPr>
          <a:xfrm>
            <a:off x="1417834" y="1623317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endParaRPr lang="en-US" sz="14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4419427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1DEFFF5F-85DD-48EA-8554-D67B0FB4E5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inks / Communication</a:t>
            </a:r>
            <a:endParaRPr lang="de-DE" dirty="0"/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313181DB-EC8E-4B4A-ACB8-9AD01ABAA5AB}"/>
              </a:ext>
            </a:extLst>
          </p:cNvPr>
          <p:cNvSpPr txBox="1"/>
          <p:nvPr/>
        </p:nvSpPr>
        <p:spPr>
          <a:xfrm>
            <a:off x="994076" y="1792595"/>
            <a:ext cx="8608695" cy="4159087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dirty="0" err="1">
                <a:solidFill>
                  <a:schemeClr val="tx1"/>
                </a:solidFill>
              </a:rPr>
              <a:t>Github</a:t>
            </a:r>
            <a:r>
              <a:rPr lang="de-DE" dirty="0">
                <a:solidFill>
                  <a:schemeClr val="tx1"/>
                </a:solidFill>
              </a:rPr>
              <a:t>:</a:t>
            </a:r>
          </a:p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dirty="0">
                <a:hlinkClick r:id="rId2"/>
              </a:rPr>
              <a:t>https://github.com/Open-Source-Compliance/Sharing-creates-value</a:t>
            </a:r>
            <a:endParaRPr lang="de-DE" dirty="0"/>
          </a:p>
          <a:p>
            <a:pPr>
              <a:lnSpc>
                <a:spcPct val="110000"/>
              </a:lnSpc>
              <a:spcBef>
                <a:spcPts val="0"/>
              </a:spcBef>
            </a:pPr>
            <a:endParaRPr lang="de-DE" dirty="0">
              <a:solidFill>
                <a:schemeClr val="tx1"/>
              </a:solidFill>
            </a:endParaRPr>
          </a:p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dirty="0" err="1">
                <a:solidFill>
                  <a:schemeClr val="tx1"/>
                </a:solidFill>
              </a:rPr>
              <a:t>Slack</a:t>
            </a:r>
            <a:r>
              <a:rPr lang="de-DE" dirty="0">
                <a:solidFill>
                  <a:schemeClr val="tx1"/>
                </a:solidFill>
              </a:rPr>
              <a:t>:</a:t>
            </a:r>
          </a:p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dirty="0">
                <a:solidFill>
                  <a:schemeClr val="tx1"/>
                </a:solidFill>
                <a:hlinkClick r:id="rId3"/>
              </a:rPr>
              <a:t>https://join.slack.com/t/ossbasedcompl-bhx9742/shared_invite/enQtODE2MTMxNzUyNDY1LWQyNWVlNzkyMjhhOWUyNDdjNDJlMzk0YzU0NDUwNzQ2YzY0Mzc1N2Y2NjhhZGEyN2JmNDE0ZTg2MTBjYmM3MWI</a:t>
            </a:r>
            <a:endParaRPr lang="de-DE" dirty="0">
              <a:solidFill>
                <a:schemeClr val="tx1"/>
              </a:solidFill>
            </a:endParaRPr>
          </a:p>
          <a:p>
            <a:pPr>
              <a:lnSpc>
                <a:spcPct val="110000"/>
              </a:lnSpc>
              <a:spcBef>
                <a:spcPts val="0"/>
              </a:spcBef>
            </a:pPr>
            <a:endParaRPr lang="de-DE" dirty="0">
              <a:solidFill>
                <a:schemeClr val="tx1"/>
              </a:solidFill>
            </a:endParaRPr>
          </a:p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dirty="0">
                <a:solidFill>
                  <a:schemeClr val="tx1"/>
                </a:solidFill>
              </a:rPr>
              <a:t>Mailing List:</a:t>
            </a:r>
          </a:p>
          <a:p>
            <a:r>
              <a:rPr lang="fr-FR" dirty="0" err="1">
                <a:solidFill>
                  <a:schemeClr val="tx1"/>
                </a:solidFill>
              </a:rPr>
              <a:t>Subscription</a:t>
            </a:r>
            <a:r>
              <a:rPr lang="fr-FR" dirty="0">
                <a:solidFill>
                  <a:schemeClr val="tx1"/>
                </a:solidFill>
              </a:rPr>
              <a:t> page:</a:t>
            </a:r>
            <a:r>
              <a:rPr lang="fr-FR" dirty="0"/>
              <a:t> </a:t>
            </a:r>
            <a:r>
              <a:rPr lang="fr-FR" u="sng" dirty="0">
                <a:hlinkClick r:id="rId4"/>
              </a:rPr>
              <a:t>https://groups.io/g/oss-based-compliance-tooling</a:t>
            </a:r>
            <a:endParaRPr lang="fr-FR" dirty="0"/>
          </a:p>
          <a:p>
            <a:r>
              <a:rPr lang="fr-FR" dirty="0">
                <a:solidFill>
                  <a:schemeClr val="tx1"/>
                </a:solidFill>
              </a:rPr>
              <a:t>Email </a:t>
            </a:r>
            <a:r>
              <a:rPr lang="fr-FR" dirty="0" err="1">
                <a:solidFill>
                  <a:schemeClr val="tx1"/>
                </a:solidFill>
              </a:rPr>
              <a:t>address</a:t>
            </a:r>
            <a:r>
              <a:rPr lang="fr-FR" dirty="0">
                <a:solidFill>
                  <a:schemeClr val="tx1"/>
                </a:solidFill>
              </a:rPr>
              <a:t>:</a:t>
            </a:r>
            <a:r>
              <a:rPr lang="fr-FR" dirty="0"/>
              <a:t> </a:t>
            </a:r>
            <a:r>
              <a:rPr lang="fr-FR" dirty="0">
                <a:hlinkClick r:id="rId5"/>
              </a:rPr>
              <a:t>oss-based-compliance-tooling@groups.io</a:t>
            </a:r>
            <a:endParaRPr lang="fr-FR" dirty="0"/>
          </a:p>
          <a:p>
            <a:pPr>
              <a:lnSpc>
                <a:spcPct val="110000"/>
              </a:lnSpc>
              <a:spcBef>
                <a:spcPts val="0"/>
              </a:spcBef>
            </a:pP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7AB2E015-24B2-4BB7-AD65-0EC052AE97A5}"/>
              </a:ext>
            </a:extLst>
          </p:cNvPr>
          <p:cNvSpPr/>
          <p:nvPr/>
        </p:nvSpPr>
        <p:spPr>
          <a:xfrm>
            <a:off x="885019" y="1345838"/>
            <a:ext cx="336502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dirty="0" err="1">
                <a:solidFill>
                  <a:schemeClr val="tx1"/>
                </a:solidFill>
              </a:rPr>
              <a:t>Where</a:t>
            </a:r>
            <a:r>
              <a:rPr lang="fr-FR" dirty="0">
                <a:solidFill>
                  <a:schemeClr val="tx1"/>
                </a:solidFill>
              </a:rPr>
              <a:t> to </a:t>
            </a:r>
            <a:r>
              <a:rPr lang="fr-FR" dirty="0" err="1">
                <a:solidFill>
                  <a:schemeClr val="tx1"/>
                </a:solidFill>
              </a:rPr>
              <a:t>communicate</a:t>
            </a:r>
            <a:r>
              <a:rPr lang="fr-FR" dirty="0">
                <a:solidFill>
                  <a:schemeClr val="tx1"/>
                </a:solidFill>
              </a:rPr>
              <a:t> </a:t>
            </a:r>
            <a:r>
              <a:rPr lang="fr-FR" dirty="0" err="1">
                <a:solidFill>
                  <a:schemeClr val="tx1"/>
                </a:solidFill>
              </a:rPr>
              <a:t>what</a:t>
            </a:r>
            <a:r>
              <a:rPr lang="fr-FR" dirty="0">
                <a:solidFill>
                  <a:schemeClr val="tx1"/>
                </a:solidFill>
              </a:rPr>
              <a:t>?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72396137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VERSION" val="4.1.2.0"/>
  <p:tag name="CDT_CREATORVERSION" val="4.1.2.0"/>
  <p:tag name="CDT_TEMPLATEVERSION" val="2.0.0"/>
  <p:tag name="CDT_FONTSET" val="Arial"/>
  <p:tag name="CDT_CUSTOMER" val="Siemens_2016_16x9"/>
  <p:tag name="CDT_CUSTOMER_NAME" val="Siemens AG (Corporate Design Update 2016)"/>
  <p:tag name="CDT_LANGUAGE" val="1033"/>
  <p:tag name="ARTICULATE_SLIDE_COUNT" val="76"/>
  <p:tag name="ARTICULATE_PROJECT_OPEN" val="0"/>
  <p:tag name="THINKCELLUNDODONOTDELETE" val="0"/>
  <p:tag name="EE4P_STYLE_ID" val="20857096-870a-42a2-a11e-36364d9facba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6:0-0-540-960,5"/>
  <p:tag name="CDT_MASTERSHAPE2" val="14:0-0-540-960,5"/>
  <p:tag name="CDT_MASTERSHAPE3" val="57350:235,2668-26,62496-99,70441-933,8749"/>
  <p:tag name="CDT_MASTERSHAPE4" val="11:0-480,25-0,1250394-0,1250394"/>
  <p:tag name="CDT_MASTERSHAPE5" val="13:0-49,37504-76,20732-136,063"/>
  <p:tag name="CDT_MASTERSHAPE6" val="15:485,5-0-34-960,5"/>
  <p:tag name="CDT_MASTERSHAPE7" val="57351:304-26,62504-30,95134-933,8749"/>
  <p:tag name="CDT_MASTERSHAPE8" val="12:485,5-695,75-34-264,75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7:0-0-326,75-960,5"/>
  <p:tag name="CDT_MASTERSHAPE2" val="57350:326,7-26,62504-68,50504-933,8749"/>
  <p:tag name="CDT_MASTERSHAPE3" val="57351:295,7487-26,62504-30,95134-933,8749"/>
  <p:tag name="CDT_MASTERSHAPE4" val="6:0-480,25-0,1250394-0,1250394"/>
  <p:tag name="CDT_MASTERSHAPE5" val="8:0-809,1249-63,37504-113,375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7:0-0-406,5005-960,5"/>
  <p:tag name="CDT_MASTERSHAPE2" val="57350:337,575-26,62504-68,50504-933,8749"/>
  <p:tag name="CDT_MASTERSHAPE3" val="57351:406,08-26,62504-30,95134-933,8749"/>
  <p:tag name="CDT_MASTERSHAPE4" val="6:0-480,25-0,1250394-0,1250394"/>
  <p:tag name="CDT_MASTERSHAPE5" val="9:0-809,1249-63,37504-113,375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5:111,25-366,85-374,25-593,65"/>
  <p:tag name="CDT_MASTERSHAPE2" val="13:111,25-366,8501-374,25-593,6499"/>
  <p:tag name="CDT_MASTERSHAPE3" val="2:0-0-99,87504-960,5"/>
  <p:tag name="CDT_MASTERSHAPE4" val="11:111,25-0-374,25-355,51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13:111,25-49,37504-374,25-306,1349"/>
  <p:tag name="CDT_MASTERSHAPE3" val="5:111,25-366,85-374,25-593,65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646,3749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532,9134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430,875"/>
  <p:tag name="CDT_MASTERSHAPE3" val="4:111,25-491,625-374,25-430,875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646,3749"/>
  <p:tag name="CDT_MASTERSHAPE3" val="13:304-49,37504-181,5-646,3749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283,5"/>
  <p:tag name="CDT_MASTERSHAPE3" val="13:111,25-344,125-374,25-283,4646"/>
  <p:tag name="CDT_MASTERSHAPE4" val="12:111,25-639,0355-374,25-283,4646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430,875"/>
  <p:tag name="CDT_MASTERSHAPE3" val="4:111,25-491,625-181,375-430,875"/>
  <p:tag name="CDT_MASTERSHAPE4" val="5:304-49,37504-181,5-430,875"/>
  <p:tag name="CDT_MASTERSHAPE5" val="6:304-491,625-181,5-430,875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5:111,25-820,4528-374,25-102,0472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646,3749"/>
  <p:tag name="CDT_MASTERSHAPE3" val="5:111,25-820,4528-374,25-102,0472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532,9134"/>
  <p:tag name="CDT_MASTERSHAPE3" val="6:111,25-820,4528-374,25-102,0472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317,4803"/>
  <p:tag name="CDT_MASTERSHAPE3" val="13:111,25-378,2697-374,25-317,4803"/>
  <p:tag name="CDT_MASTERSHAPE4" val="6:111,25-820,4528-374,25-102,0472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204,0945"/>
  <p:tag name="CDT_MASTERSHAPE3" val="13:111,25-264,7559-374,25-215,4941"/>
  <p:tag name="CDT_MASTERSHAPE4" val="12:111,25-491,625-374,25-204,125"/>
  <p:tag name="CDT_MASTERSHAPE5" val="7:111,25-820,4528-374,25-102,0472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646,3749"/>
  <p:tag name="CDT_MASTERSHAPE3" val="13:304-49,37504-181,5-646,3749"/>
  <p:tag name="CDT_MASTERSHAPE4" val="6:111,25-820,4528-374,25-102,0472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317,4803"/>
  <p:tag name="CDT_MASTERSHAPE3" val="13:111,25-378,2696-181,375-317,4803"/>
  <p:tag name="CDT_MASTERSHAPE4" val="12:304-49,37504-181,5-317,4803"/>
  <p:tag name="CDT_MASTERSHAPE5" val="15:304-378,2697-181,5-317,4803"/>
  <p:tag name="CDT_MASTERSHAPE6" val="10:111,25-820,4528-374,25-102,0472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5:0-0-99,87504-960,5"/>
  <p:tag name="CDT_MASTERSHAPE2" val="3078:0-0-99,87504-960,5"/>
  <p:tag name="CDT_MASTERSHAPE3" val="3079:111,25-49,37504-374,25-646,3749"/>
  <p:tag name="CDT_MASTERSHAPE4" val="10:0-809,1142-63,50622-113,3858"/>
  <p:tag name="CDT_MASTERSHAPE5" val="16:485,5-0-34-960,5"/>
  <p:tag name="CDT_MASTERSHAPE6" val="17:519,5-0-20,5-309,6244"/>
  <p:tag name="CDT_MASTERSHAPE7" val="18:519,5-0-20,5-138,9988"/>
  <p:tag name="CDT_MASTERSHAPE8" val="19:519,5-298,2492-20,5-662,2507"/>
  <p:tag name="CDT_MASTERSHAPE9" val="20:0-480,25-0,1250394-0,1250394"/>
  <p:tag name="CDT_MASTERSHAPE10" val="3072:0-0-0-0"/>
  <p:tag name="CDT_MASTERSHAPE11" val="3073:0-0-0-0"/>
  <p:tag name="CDT_MASTERSHAPE12" val="3074:0-0-0-0"/>
  <p:tag name="CDT_MASTERSHAPE13" val="3075:0-0-0-0"/>
  <p:tag name="CDT_MASTERSHAPE14" val="3076:0-0-0-0"/>
  <p:tag name="CDT_MASTERSHAPE15" val="3077:0-0-0-0"/>
  <p:tag name="CDT_MASTERSHAPE16" val="3080:0-0-0-0"/>
  <p:tag name="CDT_MASTERSHAPE17" val="3081:0-0-0-0"/>
  <p:tag name="CDT_MASTERSHAPE18" val="3082:0-0-0-0"/>
  <p:tag name="CDT_MASTERSHAPE19" val="3083:0-0-0-0"/>
  <p:tag name="CDT_MASTERSHAPE20" val="3084:0-0-0-0"/>
  <p:tag name="CDT_MASTERSHAPE21" val="3085:0-0-0-0"/>
  <p:tag name="CDT_MASTERSHAPE22" val="3086:0-0-0-0"/>
  <p:tag name="CDT_MASTERSHAPE23" val="3087:0-0-0-0"/>
  <p:tag name="CDT_MASTERSHAPE24" val="3088:0-0-0-0"/>
  <p:tag name="CDT_MASTERSHAPE25" val="3089:0-0-0-0"/>
  <p:tag name="CDT_MASTERSHAPE26" val="3090:0-0-0-0"/>
  <p:tag name="CDT_MASTERSHAPE27" val="3091:0-0-0-0"/>
  <p:tag name="CDT_MASTERSHAPE28" val="3092:0-0-0-0"/>
  <p:tag name="CDT_MASTERSHAPE29" val="3093:0-0-0-0"/>
  <p:tag name="CDT_MASTERSHAPE30" val="3094:0-0-0-0"/>
  <p:tag name="CDT_MASTERSHAPE31" val="3095:0-0-0-0"/>
  <p:tag name="CDT_MASTERSHAPE32" val="3096:0-0-0-0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AUTODIALOG" val="1"/>
  <p:tag name="CDT_FILLFIXED" val="True"/>
  <p:tag name="CDT_LINEFIXED" val="True"/>
  <p:tag name="CDT_FILLUNVISIBLE" val="True"/>
  <p:tag name="CDT_LINEUNVISIBLE" val="True"/>
  <p:tag name="CDT_EXTCOL" val="True"/>
  <p:tag name="CDT_COLTX_NEW" val="25"/>
  <p:tag name="CDT_TARGETSHAPE_NEW" val="8"/>
  <p:tag name="CDT_PROT" val="3"/>
  <p:tag name="CDT_PROT_TOP" val="519,5"/>
  <p:tag name="CDT_PROT_LEFT" val="0"/>
  <p:tag name="CDT_PROT_WIDTH" val="309,6244"/>
  <p:tag name="CDT_PROT_HEIGHT" val="20,5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5"/>
  <p:tag name="CDT_TARGETSHAPE_NEW" val="7"/>
  <p:tag name="CDT_PROT" val="3"/>
  <p:tag name="CDT_PROT_TOP" val="519,5"/>
  <p:tag name="CDT_PROT_LEFT" val="0"/>
  <p:tag name="CDT_PROT_WIDTH" val="138,9988"/>
  <p:tag name="CDT_PROT_HEIGHT" val="20,5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AUTODIALOG" val="1"/>
  <p:tag name="CDT_FILLFIXED" val="True"/>
  <p:tag name="CDT_LINEFIXED" val="True"/>
  <p:tag name="CDT_FILLUNVISIBLE" val="True"/>
  <p:tag name="CDT_LINEUNVISIBLE" val="True"/>
  <p:tag name="CDT_EXTCOL" val="True"/>
  <p:tag name="CDT_COLTX_NEW" val="25"/>
  <p:tag name="CDT_TARGETSHAPE_NEW" val="9"/>
  <p:tag name="CDT_PROT" val="3"/>
  <p:tag name="CDT_PROT_TOP" val="519,5"/>
  <p:tag name="CDT_PROT_LEFT" val="298,2492"/>
  <p:tag name="CDT_PROT_WIDTH" val="662,2507"/>
  <p:tag name="CDT_PROT_HEIGHT" val="20,5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19"/>
  <p:tag name="CDT_COLFF_NEW" val="19"/>
  <p:tag name="CDT_EXTCOL" val="True"/>
  <p:tag name="CDT_COLTX_NEW" val="20"/>
  <p:tag name="CDT_TARGETSHAPE_NEW" val="3"/>
  <p:tag name="CDT_PROT" val="4"/>
  <p:tag name="CDT_PROT_TOP" val="235,2668"/>
  <p:tag name="CDT_PROT_LEFT" val="26,62496"/>
  <p:tag name="CDT_PROT_WIDTH" val="933,8749"/>
  <p:tag name="CDT_PROT_HEIGHT" val="99,70441"/>
  <p:tag name="CDT_DELETE_ONEVENT_NEWPRES" val="Fals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6"/>
  <p:tag name="CDT_TARGETSHAPE_NEW" val="2"/>
  <p:tag name="CDT_PROT" val="3"/>
  <p:tag name="CDT_PROT_TOP" val="0"/>
  <p:tag name="CDT_PROT_LEFT" val="480,25"/>
  <p:tag name="CDT_PROT_WIDTH" val="0,1250394"/>
  <p:tag name="CDT_PROT_HEIGHT" val="0,1250394"/>
  <p:tag name="CDT_DELETE_ONEVENT_NEWPRES" val="Fals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PROT" val="3"/>
  <p:tag name="CDT_PROT_TOP" val="0"/>
  <p:tag name="CDT_PROT_LEFT" val="0"/>
  <p:tag name="CDT_PROT_WIDTH" val="960,5"/>
  <p:tag name="CDT_PROT_HEIGHT" val="99,87504"/>
  <p:tag name="CDT_DELETE_ONEVENT_NEWPRES" val="Fals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DELETE_ONEVENT_NEWPRES" val="False"/>
  <p:tag name="CDT_PROT" val="2"/>
  <p:tag name="CDT_PROT_TOP" val="0"/>
  <p:tag name="CDT_PROT_LEFT" val="0"/>
  <p:tag name="CDT_PROT_WIDTH" val="960,5"/>
  <p:tag name="CDT_PROT_HEIGHT" val="99,87504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646,3749"/>
  <p:tag name="CDT_PROT_HEIGHT" val="374,25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5:0-0-326,7-960,5"/>
  <p:tag name="CDT_MASTERSHAPE2" val="11:0-0-326,7-960,5"/>
  <p:tag name="CDT_MASTERSHAPE3" val="57350:326,7-26,62496-68,50504-933,8749"/>
  <p:tag name="CDT_MASTERSHAPE4" val="57351:295,7487-26,62496-30,95134-933,8749"/>
  <p:tag name="CDT_MASTERSHAPE5" val="12:0-480,25-0,1250394-0,1250394"/>
  <p:tag name="CDT_MASTERSHAPE6" val="13:0-49,37504-76,20732-136,063"/>
  <p:tag name="CDT_MASTERSHAPE7" val="14:485,5-0-34-960,5"/>
  <p:tag name="CDT_MASTERSHAPE8" val="10:485,5-695,75-34-264,75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6:0-0-406,08-960,5"/>
  <p:tag name="CDT_MASTERSHAPE2" val="13:0-0-406,08-960,5"/>
  <p:tag name="CDT_MASTERSHAPE3" val="57350:337,575-26,62496-68,50504-933,8749"/>
  <p:tag name="CDT_MASTERSHAPE4" val="57351:406,08-26,62496-30,95134-933,8749"/>
  <p:tag name="CDT_MASTERSHAPE5" val="11:0-480,25-0,1250394-0,1250394"/>
  <p:tag name="CDT_MASTERSHAPE6" val="14:0-49,37504-76,20732-136,063"/>
  <p:tag name="CDT_MASTERSHAPE7" val="15:485,5-0-34-960,5"/>
  <p:tag name="CDT_MASTERSHAPE8" val="12:485,5-695,75-34-264,75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6:0-0-540-960,5"/>
  <p:tag name="CDT_MASTERSHAPE2" val="14:0-0-540-960,5"/>
  <p:tag name="CDT_MASTERSHAPE3" val="57350:190,6199-26,62496-99,70441-933,8749"/>
  <p:tag name="CDT_MASTERSHAPE4" val="11:0-480,25-0,1250394-0,1250394"/>
  <p:tag name="CDT_MASTERSHAPE5" val="12:0-49,37504-76,20732-136,063"/>
  <p:tag name="CDT_MASTERSHAPE6" val="15:485,5-0-34-960,5"/>
  <p:tag name="CDT_MASTERSHAPE7" val="57351:190,62-26,62504-30,95134-933,8749"/>
  <p:tag name="CDT_MASTERSHAPE8" val="13:485,5-695,75-34-264,75"/>
</p:tagLst>
</file>

<file path=ppt/theme/theme1.xml><?xml version="1.0" encoding="utf-8"?>
<a:theme xmlns:a="http://schemas.openxmlformats.org/drawingml/2006/main" name="Siemens 2016 – 16:9">
  <a:themeElements>
    <a:clrScheme name="Benutzerdefiniert 7">
      <a:dk1>
        <a:srgbClr val="000000"/>
      </a:dk1>
      <a:lt1>
        <a:srgbClr val="FFFFFF"/>
      </a:lt1>
      <a:dk2>
        <a:srgbClr val="000000"/>
      </a:dk2>
      <a:lt2>
        <a:srgbClr val="ADBECB"/>
      </a:lt2>
      <a:accent1>
        <a:srgbClr val="879BAA"/>
      </a:accent1>
      <a:accent2>
        <a:srgbClr val="BECDD7"/>
      </a:accent2>
      <a:accent3>
        <a:srgbClr val="EB780A"/>
      </a:accent3>
      <a:accent4>
        <a:srgbClr val="641946"/>
      </a:accent4>
      <a:accent5>
        <a:srgbClr val="005F87"/>
      </a:accent5>
      <a:accent6>
        <a:srgbClr val="647D2D"/>
      </a:accent6>
      <a:hlink>
        <a:srgbClr val="005F87"/>
      </a:hlink>
      <a:folHlink>
        <a:srgbClr val="641946"/>
      </a:folHlink>
    </a:clrScheme>
    <a:fontScheme name="Siemen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2"/>
        </a:solidFill>
        <a:ln>
          <a:noFill/>
        </a:ln>
        <a:effectLst/>
        <a:extLst>
          <a:ext uri="{91240B29-F687-4F45-9708-019B960494DF}">
            <a14:hiddenLine xmlns:a14="http://schemas.microsoft.com/office/drawing/2010/main" w="9525">
              <a:solidFill>
                <a:schemeClr val="tx1"/>
              </a:solidFill>
              <a:miter lim="800000"/>
              <a:headEnd/>
              <a:tailEnd/>
            </a14:hiddenLine>
          </a:ext>
          <a:ext uri="{AF507438-7753-43E0-B8FC-AC1667EBCBE1}">
            <a14:hiddenEffects xmlns:a14="http://schemas.microsoft.com/office/drawing/2010/main">
              <a:effectLst>
                <a:outerShdw blurRad="63500" dist="38099" dir="2700000" algn="ctr" rotWithShape="0">
                  <a:schemeClr val="bg2">
                    <a:alpha val="74998"/>
                  </a:schemeClr>
                </a:outerShdw>
              </a:effectLst>
            </a14:hiddenEffects>
          </a:ext>
        </a:extLst>
      </a:spPr>
      <a:bodyPr wrap="square" lIns="108000" tIns="54000" rIns="108000" bIns="54000" numCol="1" spcCol="72000" rtlCol="0" anchor="ctr">
        <a:noAutofit/>
      </a:bodyPr>
      <a:lstStyle>
        <a:defPPr algn="ctr">
          <a:lnSpc>
            <a:spcPct val="110000"/>
          </a:lnSpc>
          <a:spcBef>
            <a:spcPct val="0"/>
          </a:spcBef>
          <a:buFont typeface="Wingdings" charset="0"/>
          <a:buNone/>
          <a:defRPr sz="1800" b="1" dirty="0" err="1" smtClean="0">
            <a:solidFill>
              <a:schemeClr val="tx1"/>
            </a:solidFill>
          </a:defRPr>
        </a:defPPr>
      </a:lstStyle>
    </a:spDef>
    <a:lnDef>
      <a:spPr bwMode="auto">
        <a:solidFill>
          <a:schemeClr val="tx2"/>
        </a:solidFill>
        <a:ln w="9525" cap="flat" cmpd="sng" algn="ctr">
          <a:solidFill>
            <a:schemeClr val="accent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blurRad="63500" dist="35921" dir="2700000" algn="ctr" rotWithShape="0">
                  <a:schemeClr val="bg2"/>
                </a:outerShdw>
              </a:effectLst>
            </a14:hiddenEffects>
          </a:ext>
        </a:extLst>
      </a:spPr>
      <a:bodyPr/>
      <a:lstStyle/>
    </a:lnDef>
    <a:txDef>
      <a:spPr>
        <a:noFill/>
      </a:spPr>
      <a:bodyPr wrap="square" lIns="0" tIns="0" rIns="0" bIns="0" rtlCol="0">
        <a:noAutofit/>
      </a:bodyPr>
      <a:lstStyle>
        <a:defPPr>
          <a:lnSpc>
            <a:spcPct val="110000"/>
          </a:lnSpc>
          <a:spcBef>
            <a:spcPts val="0"/>
          </a:spcBef>
          <a:defRPr sz="1400" dirty="0" err="1" smtClean="0">
            <a:solidFill>
              <a:schemeClr val="tx1"/>
            </a:solidFill>
          </a:defRPr>
        </a:defPPr>
      </a:lstStyle>
    </a:txDef>
  </a:objectDefaults>
  <a:extraClrSchemeLst/>
  <a:custClrLst>
    <a:custClr name="Siemens Snow">
      <a:srgbClr val="FFFFFF"/>
    </a:custClr>
    <a:custClr name="Siemens Accent Yellow dark">
      <a:srgbClr val="EB780A"/>
    </a:custClr>
    <a:custClr name="Siemens Yellow light">
      <a:srgbClr val="FFB900"/>
    </a:custClr>
    <a:custClr name="Siemens Stone (1)">
      <a:srgbClr val="3C464B"/>
    </a:custClr>
    <a:custClr name="Siemens Sand (1)">
      <a:srgbClr val="73645A"/>
    </a:custClr>
    <a:custClr name="Siemens Accent Teal (1)">
      <a:srgbClr val="00646E"/>
    </a:custClr>
    <a:custClr name="Siemens Accent Yellow (1)">
      <a:srgbClr val="7D2D1E"/>
    </a:custClr>
    <a:custClr name="Siemens Accent Red (1)">
      <a:srgbClr val="411432"/>
    </a:custClr>
    <a:custClr name="Siemens Accent Blue (1)">
      <a:srgbClr val="004669"/>
    </a:custClr>
    <a:custClr name="Siemens Accent Green (1)">
      <a:srgbClr val="465F19"/>
    </a:custClr>
    <a:custClr name="True Black">
      <a:srgbClr val="000000"/>
    </a:custClr>
    <a:custClr name="Siemens Accent Red dark">
      <a:srgbClr val="641946"/>
    </a:custClr>
    <a:custClr name="Siemens Red light">
      <a:srgbClr val="AF235F"/>
    </a:custClr>
    <a:custClr name="Siemens Stone (2)">
      <a:srgbClr val="788791"/>
    </a:custClr>
    <a:custClr name="Siemens Sand (2)">
      <a:srgbClr val="9B9682"/>
    </a:custClr>
    <a:custClr name="Siemens Accent Teal (2)">
      <a:srgbClr val="0F8287"/>
    </a:custClr>
    <a:custClr name="Siemens Accent Yellow (2)">
      <a:srgbClr val="C85A1E"/>
    </a:custClr>
    <a:custClr name="Siemens Accent Red (2)">
      <a:srgbClr val="641946"/>
    </a:custClr>
    <a:custClr name="Siemens Accent Blue (2)">
      <a:srgbClr val="005F87"/>
    </a:custClr>
    <a:custClr name="Siemens Accent Green (2)">
      <a:srgbClr val="647D2D"/>
    </a:custClr>
    <a:custClr name="Siemens Stone light">
      <a:srgbClr val="879BAA"/>
    </a:custClr>
    <a:custClr name="Siemens Accent Blue dark">
      <a:srgbClr val="005F87"/>
    </a:custClr>
    <a:custClr name="Siemens Accent Blue light">
      <a:srgbClr val="50BED7"/>
    </a:custClr>
    <a:custClr name="Siemens Stone (3)">
      <a:srgbClr val="9BAFBE"/>
    </a:custClr>
    <a:custClr name="Siemens Sand (3)">
      <a:srgbClr val="B9B9A5"/>
    </a:custClr>
    <a:custClr name="Siemens Accent Teal (3)">
      <a:srgbClr val="32A0A0"/>
    </a:custClr>
    <a:custClr name="Siemens Accent Yellow (3)">
      <a:srgbClr val="EB780A"/>
    </a:custClr>
    <a:custClr name="Siemens Accent Red (3)">
      <a:srgbClr val="871E50"/>
    </a:custClr>
    <a:custClr name="Siemens Accent Blue (3)">
      <a:srgbClr val="2387AA"/>
    </a:custClr>
    <a:custClr name="Siemens Accent Green (3)">
      <a:srgbClr val="879628"/>
    </a:custClr>
    <a:custClr name="Siemens Stone light 35%">
      <a:srgbClr val="BECDD7"/>
    </a:custClr>
    <a:custClr name="Siemens Accent Green">
      <a:srgbClr val="647D2D"/>
    </a:custClr>
    <a:custClr name="Siemens Accent Green light">
      <a:srgbClr val="AAB414"/>
    </a:custClr>
    <a:custClr name="Siemens Stone (4)">
      <a:srgbClr val="BECDD7"/>
    </a:custClr>
    <a:custClr name="Siemens Sand (4)">
      <a:srgbClr val="D7D7CD"/>
    </a:custClr>
    <a:custClr name="Siemens Accent Teal (4)">
      <a:srgbClr val="4BB9B9"/>
    </a:custClr>
    <a:custClr name="Siemens Accent Yellow (4)">
      <a:srgbClr val="FFB900"/>
    </a:custClr>
    <a:custClr name="Siemens Accent Red (4)">
      <a:srgbClr val="AF235F"/>
    </a:custClr>
    <a:custClr name="Siemens Accent Blue (4)">
      <a:srgbClr val="41AAC8"/>
    </a:custClr>
    <a:custClr name="Siemens Accent Green (4)">
      <a:srgbClr val="AAB414"/>
    </a:custClr>
    <a:custClr name="Siemens Sand 35%">
      <a:srgbClr val="D7D7CD"/>
    </a:custClr>
    <a:custClr name="Siemens Accent Teal dark">
      <a:srgbClr val="00646E"/>
    </a:custClr>
    <a:custClr name="Siemens Accent Teal light">
      <a:srgbClr val="41AAAA"/>
    </a:custClr>
    <a:custClr name="Siemens Stone (5)">
      <a:srgbClr val="CDD9E1"/>
    </a:custClr>
    <a:custClr name="Siemens Sand (5)">
      <a:srgbClr val="E1E1D7"/>
    </a:custClr>
    <a:custClr name="Siemens Accent Teal (5)">
      <a:srgbClr val="A5E1E1"/>
    </a:custClr>
    <a:custClr name="Siemens Accent Yellow (5)">
      <a:srgbClr val="FFE178"/>
    </a:custClr>
    <a:custClr name="Siemens Accent Red (5)">
      <a:srgbClr val="D7698C"/>
    </a:custClr>
    <a:custClr name="Siemens Accent Blue(5)">
      <a:srgbClr val="7DD2E6"/>
    </a:custClr>
    <a:custClr name="Siemens Accent Green (5)">
      <a:srgbClr val="D2D741"/>
    </a:custClr>
  </a:custClrLst>
</a:theme>
</file>

<file path=ppt/theme/theme2.xml><?xml version="1.0" encoding="utf-8"?>
<a:theme xmlns:a="http://schemas.openxmlformats.org/drawingml/2006/main" name="Office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custClrLst>
    <a:custClr name="Siemens Snow">
      <a:srgbClr val="FFFFFF"/>
    </a:custClr>
    <a:custClr name="Siemens Accent Yellow dark">
      <a:srgbClr val="EB780A"/>
    </a:custClr>
    <a:custClr name="Siemens Yellow light">
      <a:srgbClr val="FFB900"/>
    </a:custClr>
    <a:custClr name="Siemens Stone (1)">
      <a:srgbClr val="3C464B"/>
    </a:custClr>
    <a:custClr name="Siemens Sand (1)">
      <a:srgbClr val="73645A"/>
    </a:custClr>
    <a:custClr name="Siemens Accent Teal (1)">
      <a:srgbClr val="00646E"/>
    </a:custClr>
    <a:custClr name="Siemens Accent Yellow (1)">
      <a:srgbClr val="7D2D1E"/>
    </a:custClr>
    <a:custClr name="Siemens Accent Red (1)">
      <a:srgbClr val="411432"/>
    </a:custClr>
    <a:custClr name="Siemens Accent Blue (1)">
      <a:srgbClr val="004669"/>
    </a:custClr>
    <a:custClr name="Siemens Accent Green (1)">
      <a:srgbClr val="465F19"/>
    </a:custClr>
    <a:custClr name="True Black">
      <a:srgbClr val="000000"/>
    </a:custClr>
    <a:custClr name="Siemens Accent Red dark">
      <a:srgbClr val="641946"/>
    </a:custClr>
    <a:custClr name="Siemens Red light">
      <a:srgbClr val="AF235F"/>
    </a:custClr>
    <a:custClr name="Siemens Stone (2)">
      <a:srgbClr val="788791"/>
    </a:custClr>
    <a:custClr name="Siemens Sand (2)">
      <a:srgbClr val="9B9682"/>
    </a:custClr>
    <a:custClr name="Siemens Accent Teal (2)">
      <a:srgbClr val="0F8287"/>
    </a:custClr>
    <a:custClr name="Siemens Accent Yellow (2)">
      <a:srgbClr val="C85A1E"/>
    </a:custClr>
    <a:custClr name="Siemens Accent Red (2)">
      <a:srgbClr val="641946"/>
    </a:custClr>
    <a:custClr name="Siemens Accent Blue (2)">
      <a:srgbClr val="005F87"/>
    </a:custClr>
    <a:custClr name="Siemens Accent Green (2)">
      <a:srgbClr val="647D2D"/>
    </a:custClr>
    <a:custClr name="Siemens Stone light">
      <a:srgbClr val="879BAA"/>
    </a:custClr>
    <a:custClr name="Siemens Accent Blue dark">
      <a:srgbClr val="006487"/>
    </a:custClr>
    <a:custClr name="Siemens Accent Blue light">
      <a:srgbClr val="55A0B9"/>
    </a:custClr>
    <a:custClr name="Siemens Stone (3)">
      <a:srgbClr val="9BAFBE"/>
    </a:custClr>
    <a:custClr name="Siemens Sand (3)">
      <a:srgbClr val="B9B9A5"/>
    </a:custClr>
    <a:custClr name="Siemens Accent Teal (3)">
      <a:srgbClr val="32A0A0"/>
    </a:custClr>
    <a:custClr name="Siemens Accent Yellow (3)">
      <a:srgbClr val="EB780A"/>
    </a:custClr>
    <a:custClr name="Siemens Accent Red (3)">
      <a:srgbClr val="871E50"/>
    </a:custClr>
    <a:custClr name="Siemens Accent Blue (3)">
      <a:srgbClr val="2387AA"/>
    </a:custClr>
    <a:custClr name="Siemens Accent Green (3)">
      <a:srgbClr val="879628"/>
    </a:custClr>
    <a:custClr name="Siemens Stone light 35%">
      <a:srgbClr val="BECDD7"/>
    </a:custClr>
    <a:custClr name="Siemens Accent Green">
      <a:srgbClr val="647D2D"/>
    </a:custClr>
    <a:custClr name="Siemens Accent Green light">
      <a:srgbClr val="AAB414"/>
    </a:custClr>
    <a:custClr name="Siemens Stone (4)">
      <a:srgbClr val="BECDD7"/>
    </a:custClr>
    <a:custClr name="Siemens Sand (4)">
      <a:srgbClr val="D7D7CD"/>
    </a:custClr>
    <a:custClr name="Siemens Accent Teal (4)">
      <a:srgbClr val="4BB9B9"/>
    </a:custClr>
    <a:custClr name="Siemens Accent Yellow (4)">
      <a:srgbClr val="FFB900"/>
    </a:custClr>
    <a:custClr name="Siemens Accent Red (4)">
      <a:srgbClr val="AF235F"/>
    </a:custClr>
    <a:custClr name="Siemens Accent Blue (4)">
      <a:srgbClr val="41AAC8"/>
    </a:custClr>
    <a:custClr name="Siemens Accent Green (4)">
      <a:srgbClr val="AAB414"/>
    </a:custClr>
    <a:custClr name="Siemens Sand 35%">
      <a:srgbClr val="D7D7CD"/>
    </a:custClr>
    <a:custClr name="Siemens Accent Teal dark">
      <a:srgbClr val="00646E"/>
    </a:custClr>
    <a:custClr name="Siemens Accent Teal light">
      <a:srgbClr val="41AAAA"/>
    </a:custClr>
    <a:custClr name="Siemens Stone (5)">
      <a:srgbClr val="CDD9E1"/>
    </a:custClr>
    <a:custClr name="Siemens Sand (5)">
      <a:srgbClr val="E1E1D7"/>
    </a:custClr>
    <a:custClr name="Siemens Accent Teal (5)">
      <a:srgbClr val="A5E1E1"/>
    </a:custClr>
    <a:custClr name="Siemens Accent Yellow (5)">
      <a:srgbClr val="FFE178"/>
    </a:custClr>
    <a:custClr name="Siemens Accent Red (5)">
      <a:srgbClr val="D7698C"/>
    </a:custClr>
    <a:custClr name="Siemens Accent Blue(5)">
      <a:srgbClr val="7DD2E6"/>
    </a:custClr>
    <a:custClr name="Siemens Accent Green (5)">
      <a:srgbClr val="D2D741"/>
    </a:custClr>
  </a:custClrLst>
</a:theme>
</file>

<file path=ppt/theme/theme3.xml><?xml version="1.0" encoding="utf-8"?>
<a:theme xmlns:a="http://schemas.openxmlformats.org/drawingml/2006/main" name="Office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custClrLst>
    <a:custClr name="Siemens Snow">
      <a:srgbClr val="FFFFFF"/>
    </a:custClr>
    <a:custClr name="Siemens Accent Yellow dark">
      <a:srgbClr val="EB780A"/>
    </a:custClr>
    <a:custClr name="Siemens Yellow light">
      <a:srgbClr val="FFB900"/>
    </a:custClr>
    <a:custClr name="Siemens Stone (1)">
      <a:srgbClr val="3C464B"/>
    </a:custClr>
    <a:custClr name="Siemens Sand (1)">
      <a:srgbClr val="73645A"/>
    </a:custClr>
    <a:custClr name="Siemens Accent Teal (1)">
      <a:srgbClr val="00646E"/>
    </a:custClr>
    <a:custClr name="Siemens Accent Yellow (1)">
      <a:srgbClr val="7D2D1E"/>
    </a:custClr>
    <a:custClr name="Siemens Accent Red (1)">
      <a:srgbClr val="411432"/>
    </a:custClr>
    <a:custClr name="Siemens Accent Blue (1)">
      <a:srgbClr val="004669"/>
    </a:custClr>
    <a:custClr name="Siemens Accent Green (1)">
      <a:srgbClr val="465F19"/>
    </a:custClr>
    <a:custClr name="True Black">
      <a:srgbClr val="000000"/>
    </a:custClr>
    <a:custClr name="Siemens Accent Red dark">
      <a:srgbClr val="641946"/>
    </a:custClr>
    <a:custClr name="Siemens Red light">
      <a:srgbClr val="AF235F"/>
    </a:custClr>
    <a:custClr name="Siemens Stone (2)">
      <a:srgbClr val="788791"/>
    </a:custClr>
    <a:custClr name="Siemens Sand (2)">
      <a:srgbClr val="9B9682"/>
    </a:custClr>
    <a:custClr name="Siemens Accent Teal (2)">
      <a:srgbClr val="0F8287"/>
    </a:custClr>
    <a:custClr name="Siemens Accent Yellow (2)">
      <a:srgbClr val="C85A1E"/>
    </a:custClr>
    <a:custClr name="Siemens Accent Red (2)">
      <a:srgbClr val="641946"/>
    </a:custClr>
    <a:custClr name="Siemens Accent Blue (2)">
      <a:srgbClr val="005F87"/>
    </a:custClr>
    <a:custClr name="Siemens Accent Green (2)">
      <a:srgbClr val="647D2D"/>
    </a:custClr>
    <a:custClr name="Siemens Stone light">
      <a:srgbClr val="879BAA"/>
    </a:custClr>
    <a:custClr name="Siemens Accent Blue dark">
      <a:srgbClr val="006487"/>
    </a:custClr>
    <a:custClr name="Siemens Accent Blue light">
      <a:srgbClr val="55A0B9"/>
    </a:custClr>
    <a:custClr name="Siemens Stone (3)">
      <a:srgbClr val="9BAFBE"/>
    </a:custClr>
    <a:custClr name="Siemens Sand (3)">
      <a:srgbClr val="B9B9A5"/>
    </a:custClr>
    <a:custClr name="Siemens Accent Teal (3)">
      <a:srgbClr val="32A0A0"/>
    </a:custClr>
    <a:custClr name="Siemens Accent Yellow (3)">
      <a:srgbClr val="EB780A"/>
    </a:custClr>
    <a:custClr name="Siemens Accent Red (3)">
      <a:srgbClr val="871E50"/>
    </a:custClr>
    <a:custClr name="Siemens Accent Blue (3)">
      <a:srgbClr val="2387AA"/>
    </a:custClr>
    <a:custClr name="Siemens Accent Green (3)">
      <a:srgbClr val="879628"/>
    </a:custClr>
    <a:custClr name="Siemens Stone light 35%">
      <a:srgbClr val="BECDD7"/>
    </a:custClr>
    <a:custClr name="Siemens Accent Green">
      <a:srgbClr val="647D2D"/>
    </a:custClr>
    <a:custClr name="Siemens Accent Green light">
      <a:srgbClr val="AAB414"/>
    </a:custClr>
    <a:custClr name="Siemens Stone (4)">
      <a:srgbClr val="BECDD7"/>
    </a:custClr>
    <a:custClr name="Siemens Sand (4)">
      <a:srgbClr val="D7D7CD"/>
    </a:custClr>
    <a:custClr name="Siemens Accent Teal (4)">
      <a:srgbClr val="4BB9B9"/>
    </a:custClr>
    <a:custClr name="Siemens Accent Yellow (4)">
      <a:srgbClr val="FFB900"/>
    </a:custClr>
    <a:custClr name="Siemens Accent Red (4)">
      <a:srgbClr val="AF235F"/>
    </a:custClr>
    <a:custClr name="Siemens Accent Blue (4)">
      <a:srgbClr val="41AAC8"/>
    </a:custClr>
    <a:custClr name="Siemens Accent Green (4)">
      <a:srgbClr val="AAB414"/>
    </a:custClr>
    <a:custClr name="Siemens Sand 35%">
      <a:srgbClr val="D7D7CD"/>
    </a:custClr>
    <a:custClr name="Siemens Accent Teal dark">
      <a:srgbClr val="00646E"/>
    </a:custClr>
    <a:custClr name="Siemens Accent Teal light">
      <a:srgbClr val="41AAAA"/>
    </a:custClr>
    <a:custClr name="Siemens Stone (5)">
      <a:srgbClr val="CDD9E1"/>
    </a:custClr>
    <a:custClr name="Siemens Sand (5)">
      <a:srgbClr val="E1E1D7"/>
    </a:custClr>
    <a:custClr name="Siemens Accent Teal (5)">
      <a:srgbClr val="A5E1E1"/>
    </a:custClr>
    <a:custClr name="Siemens Accent Yellow (5)">
      <a:srgbClr val="FFE178"/>
    </a:custClr>
    <a:custClr name="Siemens Accent Red (5)">
      <a:srgbClr val="D7698C"/>
    </a:custClr>
    <a:custClr name="Siemens Accent Blue(5)">
      <a:srgbClr val="7DD2E6"/>
    </a:custClr>
    <a:custClr name="Siemens Accent Green (5)">
      <a:srgbClr val="D2D741"/>
    </a:custClr>
  </a:custClr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1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.xml"/></Relationships>
</file>

<file path=customXml/_rels/item1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1.xml"/></Relationships>
</file>

<file path=customXml/_rels/item1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2.xml"/></Relationships>
</file>

<file path=customXml/_rels/item1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3.xml"/></Relationships>
</file>

<file path=customXml/_rels/item1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4.xml"/></Relationships>
</file>

<file path=customXml/_rels/item1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5.xml"/></Relationships>
</file>

<file path=customXml/_rels/item1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6.xml"/></Relationships>
</file>

<file path=customXml/_rels/item1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7.xml"/></Relationships>
</file>

<file path=customXml/_rels/item1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8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_rels/item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.xml"/></Relationships>
</file>

<file path=customXml/_rels/item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.xml"/></Relationships>
</file>

<file path=customXml/_rels/item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.xml"/></Relationships>
</file>

<file path=customXml/_rels/item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.xml"/></Relationships>
</file>

<file path=customXml/item1.xml><?xml version="1.0" encoding="utf-8"?>
<p4ppTags>
  <Name>One object (small)</Name>
  <PpLayout>16</PpLayout>
  <Index>11</Index>
</p4ppTags>
</file>

<file path=customXml/item10.xml><?xml version="1.0" encoding="utf-8"?>
<p4ppTags>
  <Name>One object (small) + Navigation</Name>
  <PpLayout>32</PpLayout>
  <Index>18</Index>
</p4ppTags>
</file>

<file path=customXml/item1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6F530587E03684C96E4C14F39C83C8E" ma:contentTypeVersion="1" ma:contentTypeDescription="Create a new document." ma:contentTypeScope="" ma:versionID="a7726241122b1ad33829eba8e69a544b">
  <xsd:schema xmlns:xsd="http://www.w3.org/2001/XMLSchema" xmlns:p="http://schemas.microsoft.com/office/2006/metadata/properties" xmlns:ns1="http://schemas.microsoft.com/sharepoint/v3" targetNamespace="http://schemas.microsoft.com/office/2006/metadata/properties" ma:root="true" ma:fieldsID="ddb0c952b897a810c8a4e377cff6bff8" ns1:_="">
    <xsd:import namespace="http://schemas.microsoft.com/sharepoint/v3"/>
    <xsd:element name="properties">
      <xsd:complexType>
        <xsd:sequence>
          <xsd:element name="documentManagement">
            <xsd:complexType>
              <xsd:all>
                <xsd:element ref="ns1:PublishingStartDate" minOccurs="0"/>
                <xsd:element ref="ns1:PublishingExpirationDate" minOccurs="0"/>
              </xsd:all>
            </xsd:complexType>
          </xsd:element>
        </xsd:sequence>
      </xsd:complexType>
    </xsd:element>
  </xsd:schema>
  <xsd:schema xmlns:xsd="http://www.w3.org/2001/XMLSchema" xmlns:dms="http://schemas.microsoft.com/office/2006/documentManagement/types" targetNamespace="http://schemas.microsoft.com/sharepoint/v3" elementFormDefault="qualified">
    <xsd:import namespace="http://schemas.microsoft.com/office/2006/documentManagement/types"/>
    <xsd:element name="PublishingStartDate" ma:index="8" nillable="true" ma:displayName="Scheduling Start Date" ma:description="" ma:hidden="true" ma:internalName="PublishingStartDate">
      <xsd:simpleType>
        <xsd:restriction base="dms:Unknown"/>
      </xsd:simpleType>
    </xsd:element>
    <xsd:element name="PublishingExpirationDate" ma:index="9" nillable="true" ma:displayName="Scheduling End Date" ma:description="" ma:hidden="true" ma:internalName="PublishingExpirationDate">
      <xsd:simpleType>
        <xsd:restriction base="dms:Unknow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office/internal/2005/internalDocumentation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 ma:readOnly="tru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lastPrinted" minOccurs="0" maxOccurs="1" type="xsd:dateTime"/>
        <xsd:element name="contentStatus" minOccurs="0" maxOccurs="1" type="xsd:string"/>
      </xsd:all>
    </xsd:complexType>
  </xsd:schema>
</ct:contentTypeSchema>
</file>

<file path=customXml/item12.xml><?xml version="1.0" encoding="utf-8"?>
<p4ppTags>
  <Name>Two columns</Name>
  <PpLayout>29</PpLayout>
  <Index>12</Index>
</p4ppTags>
</file>

<file path=customXml/item13.xml><?xml version="1.0" encoding="utf-8"?>
<p:properties xmlns:p="http://schemas.microsoft.com/office/2006/metadata/properties" xmlns:xsi="http://www.w3.org/2001/XMLSchema-instance">
  <documentManagement>
    <PublishingExpirationDate xmlns="http://schemas.microsoft.com/sharepoint/v3" xsi:nil="true"/>
    <PublishingStartDate xmlns="http://schemas.microsoft.com/sharepoint/v3" xsi:nil="true"/>
  </documentManagement>
</p:properties>
</file>

<file path=customXml/item14.xml><?xml version="1.0" encoding="utf-8"?>
<p4ppTags>
  <Name>Two columns + Navigation</Name>
  <PpLayout>32</PpLayout>
  <Index>19</Index>
</p4ppTags>
</file>

<file path=customXml/item15.xml><?xml version="1.0" encoding="utf-8"?>
<p4ppTags>
  <Name>Free Content + Navigation</Name>
  <PpLayout>32</PpLayout>
  <Index>16</Index>
</p4ppTags>
</file>

<file path=customXml/item16.xml><?xml version="1.0" encoding="utf-8"?>
<p4ppTags>
  <Name>Free Content</Name>
  <PpLayout>11</PpLayout>
  <Index>9</Index>
</p4ppTags>
</file>

<file path=customXml/item17.xml><?xml version="1.0" encoding="utf-8"?>
<p4ppTags>
  <Name>Text + Index</Name>
  <PpLayout>32</PpLayout>
  <Index>8</Index>
</p4ppTags>
</file>

<file path=customXml/item18.xml><?xml version="1.0" encoding="utf-8"?>
<p4ppTags/>
</file>

<file path=customXml/item2.xml><?xml version="1.0" encoding="utf-8"?>
<p4ppTags>
  <Name>Four objects</Name>
  <PpLayout>24</PpLayout>
  <Index>15</Index>
</p4ppTags>
</file>

<file path=customXml/item3.xml><?xml version="1.0" encoding="utf-8"?>
<p4ppTags>
  <Name>Two rows + Navigation</Name>
  <PpLayout>32</PpLayout>
  <Index>21</Index>
</p4ppTags>
</file>

<file path=customXml/item4.xml><?xml version="1.0" encoding="utf-8"?>
<p4ppTags>
  <Name>Three columns</Name>
  <PpLayout>32</PpLayout>
  <Index>14</Index>
</p4ppTags>
</file>

<file path=customXml/item5.xml><?xml version="1.0" encoding="utf-8"?>
<p4ppTags>
  <Name>One object (large) + Navigation</Name>
  <PpLayout>32</PpLayout>
  <Index>17</Index>
</p4ppTags>
</file>

<file path=customXml/item6.xml><?xml version="1.0" encoding="utf-8"?>
<p4ppTags>
  <Name>Three columns + Navigation</Name>
  <PpLayout>32</PpLayout>
  <Index>20</Index>
</p4ppTags>
</file>

<file path=customXml/item7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8.xml><?xml version="1.0" encoding="utf-8"?>
<p4ppTags>
  <Name>One object (large)</Name>
  <PpLayout>16</PpLayout>
  <Index>10</Index>
</p4ppTags>
</file>

<file path=customXml/item9.xml><?xml version="1.0" encoding="utf-8"?>
<p4ppTags>
  <Name>Two rows</Name>
  <PpLayout>32</PpLayout>
  <Index>13</Index>
</p4ppTags>
</file>

<file path=customXml/itemProps1.xml><?xml version="1.0" encoding="utf-8"?>
<ds:datastoreItem xmlns:ds="http://schemas.openxmlformats.org/officeDocument/2006/customXml" ds:itemID="{1618AA06-B22E-4D19-9680-0D7830426729}">
  <ds:schemaRefs/>
</ds:datastoreItem>
</file>

<file path=customXml/itemProps10.xml><?xml version="1.0" encoding="utf-8"?>
<ds:datastoreItem xmlns:ds="http://schemas.openxmlformats.org/officeDocument/2006/customXml" ds:itemID="{D9FE249F-833E-4CF0-BECB-552D01D7DC9E}">
  <ds:schemaRefs/>
</ds:datastoreItem>
</file>

<file path=customXml/itemProps11.xml><?xml version="1.0" encoding="utf-8"?>
<ds:datastoreItem xmlns:ds="http://schemas.openxmlformats.org/officeDocument/2006/customXml" ds:itemID="{DDD5559B-0584-4B05-A285-1FEC88814B30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http://schemas.microsoft.com/office/2006/documentManagement/types"/>
    <ds:schemaRef ds:uri="http://schemas.openxmlformats.org/package/2006/metadata/core-properties"/>
    <ds:schemaRef ds:uri="http://purl.org/dc/elements/1.1/"/>
    <ds:schemaRef ds:uri="http://purl.org/dc/terms/"/>
    <ds:schemaRef ds:uri="http://schemas.microsoft.com/office/internal/2005/internalDocumentation"/>
  </ds:schemaRefs>
</ds:datastoreItem>
</file>

<file path=customXml/itemProps12.xml><?xml version="1.0" encoding="utf-8"?>
<ds:datastoreItem xmlns:ds="http://schemas.openxmlformats.org/officeDocument/2006/customXml" ds:itemID="{1666F4C2-68F5-4840-A44A-1A646C0925A1}">
  <ds:schemaRefs/>
</ds:datastoreItem>
</file>

<file path=customXml/itemProps13.xml><?xml version="1.0" encoding="utf-8"?>
<ds:datastoreItem xmlns:ds="http://schemas.openxmlformats.org/officeDocument/2006/customXml" ds:itemID="{C3CCD83D-9C91-4A4B-87D6-2A0CC03F9D68}">
  <ds:schemaRefs>
    <ds:schemaRef ds:uri="http://purl.org/dc/terms/"/>
    <ds:schemaRef ds:uri="http://schemas.openxmlformats.org/package/2006/metadata/core-properties"/>
    <ds:schemaRef ds:uri="http://purl.org/dc/dcmitype/"/>
    <ds:schemaRef ds:uri="http://schemas.microsoft.com/office/2006/documentManagement/types"/>
    <ds:schemaRef ds:uri="http://purl.org/dc/elements/1.1/"/>
    <ds:schemaRef ds:uri="http://schemas.microsoft.com/office/2006/metadata/properties"/>
    <ds:schemaRef ds:uri="http://schemas.microsoft.com/sharepoint/v3"/>
    <ds:schemaRef ds:uri="http://www.w3.org/XML/1998/namespace"/>
  </ds:schemaRefs>
</ds:datastoreItem>
</file>

<file path=customXml/itemProps14.xml><?xml version="1.0" encoding="utf-8"?>
<ds:datastoreItem xmlns:ds="http://schemas.openxmlformats.org/officeDocument/2006/customXml" ds:itemID="{D7BABA95-BFFE-422B-8591-3271669EEA88}">
  <ds:schemaRefs/>
</ds:datastoreItem>
</file>

<file path=customXml/itemProps15.xml><?xml version="1.0" encoding="utf-8"?>
<ds:datastoreItem xmlns:ds="http://schemas.openxmlformats.org/officeDocument/2006/customXml" ds:itemID="{7CC5F709-E74B-4E5F-A728-923D5062EBEF}">
  <ds:schemaRefs/>
</ds:datastoreItem>
</file>

<file path=customXml/itemProps16.xml><?xml version="1.0" encoding="utf-8"?>
<ds:datastoreItem xmlns:ds="http://schemas.openxmlformats.org/officeDocument/2006/customXml" ds:itemID="{D8097D0C-BE3E-4AEC-9593-65CFCCB19297}">
  <ds:schemaRefs/>
</ds:datastoreItem>
</file>

<file path=customXml/itemProps17.xml><?xml version="1.0" encoding="utf-8"?>
<ds:datastoreItem xmlns:ds="http://schemas.openxmlformats.org/officeDocument/2006/customXml" ds:itemID="{7E35FEDB-1F0E-4D67-A313-4AC59C26FF29}">
  <ds:schemaRefs/>
</ds:datastoreItem>
</file>

<file path=customXml/itemProps18.xml><?xml version="1.0" encoding="utf-8"?>
<ds:datastoreItem xmlns:ds="http://schemas.openxmlformats.org/officeDocument/2006/customXml" ds:itemID="{572FBA73-6DBF-45DA-8282-9342320CFAB0}">
  <ds:schemaRefs/>
</ds:datastoreItem>
</file>

<file path=customXml/itemProps2.xml><?xml version="1.0" encoding="utf-8"?>
<ds:datastoreItem xmlns:ds="http://schemas.openxmlformats.org/officeDocument/2006/customXml" ds:itemID="{1581BFFB-B4CE-47A8-BE77-DC1339B1E5A7}">
  <ds:schemaRefs/>
</ds:datastoreItem>
</file>

<file path=customXml/itemProps3.xml><?xml version="1.0" encoding="utf-8"?>
<ds:datastoreItem xmlns:ds="http://schemas.openxmlformats.org/officeDocument/2006/customXml" ds:itemID="{6C79E4F8-DCFB-483C-880A-AEEC6AAFC838}">
  <ds:schemaRefs/>
</ds:datastoreItem>
</file>

<file path=customXml/itemProps4.xml><?xml version="1.0" encoding="utf-8"?>
<ds:datastoreItem xmlns:ds="http://schemas.openxmlformats.org/officeDocument/2006/customXml" ds:itemID="{15CF3461-70D1-4B54-AFAB-DAFDA0A238CD}">
  <ds:schemaRefs/>
</ds:datastoreItem>
</file>

<file path=customXml/itemProps5.xml><?xml version="1.0" encoding="utf-8"?>
<ds:datastoreItem xmlns:ds="http://schemas.openxmlformats.org/officeDocument/2006/customXml" ds:itemID="{B27F640E-84DF-4F97-BC70-D045F1E6594F}">
  <ds:schemaRefs/>
</ds:datastoreItem>
</file>

<file path=customXml/itemProps6.xml><?xml version="1.0" encoding="utf-8"?>
<ds:datastoreItem xmlns:ds="http://schemas.openxmlformats.org/officeDocument/2006/customXml" ds:itemID="{85D77EE6-52B7-48BE-9EDB-748F1EBB53DE}">
  <ds:schemaRefs/>
</ds:datastoreItem>
</file>

<file path=customXml/itemProps7.xml><?xml version="1.0" encoding="utf-8"?>
<ds:datastoreItem xmlns:ds="http://schemas.openxmlformats.org/officeDocument/2006/customXml" ds:itemID="{C770A9D8-EB8A-4EA7-9CCD-8AD3EAF96C52}">
  <ds:schemaRefs>
    <ds:schemaRef ds:uri="http://schemas.microsoft.com/sharepoint/v3/contenttype/forms"/>
  </ds:schemaRefs>
</ds:datastoreItem>
</file>

<file path=customXml/itemProps8.xml><?xml version="1.0" encoding="utf-8"?>
<ds:datastoreItem xmlns:ds="http://schemas.openxmlformats.org/officeDocument/2006/customXml" ds:itemID="{80661B8B-A327-44F9-823B-4D9EE0B3EC78}">
  <ds:schemaRefs/>
</ds:datastoreItem>
</file>

<file path=customXml/itemProps9.xml><?xml version="1.0" encoding="utf-8"?>
<ds:datastoreItem xmlns:ds="http://schemas.openxmlformats.org/officeDocument/2006/customXml" ds:itemID="{38AB8DE4-FD9B-4166-BEC3-3F1753596133}">
  <ds:schemaRefs/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561</Words>
  <Application>Microsoft Macintosh PowerPoint</Application>
  <PresentationFormat>Benutzerdefiniert</PresentationFormat>
  <Paragraphs>77</Paragraphs>
  <Slides>8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2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8</vt:i4>
      </vt:variant>
    </vt:vector>
  </HeadingPairs>
  <TitlesOfParts>
    <vt:vector size="12" baseType="lpstr">
      <vt:lpstr>Arial</vt:lpstr>
      <vt:lpstr>Wingdings</vt:lpstr>
      <vt:lpstr>Siemens 2016 – 16:9</vt:lpstr>
      <vt:lpstr>think-cell Folie</vt:lpstr>
      <vt:lpstr>25th meeting OpenChain reference tooling work group</vt:lpstr>
      <vt:lpstr>Agenda</vt:lpstr>
      <vt:lpstr>News</vt:lpstr>
      <vt:lpstr>Agenda</vt:lpstr>
      <vt:lpstr>Public Meta data</vt:lpstr>
      <vt:lpstr>Further topics of interest</vt:lpstr>
      <vt:lpstr>Next meeting</vt:lpstr>
      <vt:lpstr>Links / Communication</vt:lpstr>
    </vt:vector>
  </TitlesOfParts>
  <Company>SIEMENS AG</Company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OSS-Reference-Tooling-Work-Group</dc:title>
  <dc:creator>Fendt, Oliver (CT RDA SSI)</dc:creator>
  <cp:keywords>C_Unrestricted</cp:keywords>
  <cp:lastModifiedBy>Jan Thielscher</cp:lastModifiedBy>
  <cp:revision>1350</cp:revision>
  <cp:lastPrinted>2018-03-01T11:33:30Z</cp:lastPrinted>
  <dcterms:created xsi:type="dcterms:W3CDTF">2006-04-07T10:01:45Z</dcterms:created>
  <dcterms:modified xsi:type="dcterms:W3CDTF">2020-11-18T09:37:08Z</dcterms:modified>
  <dc:language>English</dc:language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Language">
    <vt:lpwstr>Deutsch</vt:lpwstr>
  </property>
  <property fmtid="{D5CDD505-2E9C-101B-9397-08002B2CF9AE}" pid="3" name="Release date">
    <vt:lpwstr>January 2016</vt:lpwstr>
  </property>
  <property fmtid="{D5CDD505-2E9C-101B-9397-08002B2CF9AE}" pid="4" name="Office version">
    <vt:lpwstr>2007/2010</vt:lpwstr>
  </property>
  <property fmtid="{D5CDD505-2E9C-101B-9397-08002B2CF9AE}" pid="5" name="Release version">
    <vt:lpwstr>1.0</vt:lpwstr>
  </property>
  <property fmtid="{D5CDD505-2E9C-101B-9397-08002B2CF9AE}" pid="6" name="ArticulateGUID">
    <vt:lpwstr>144AFB27-EB3C-4BF4-843A-3AC39403D726</vt:lpwstr>
  </property>
  <property fmtid="{D5CDD505-2E9C-101B-9397-08002B2CF9AE}" pid="7" name="ArticulatePath">
    <vt:lpwstr>SIE_PPT_2010_16x9_ENG_v1-0</vt:lpwstr>
  </property>
  <property fmtid="{D5CDD505-2E9C-101B-9397-08002B2CF9AE}" pid="8" name="_NewReviewCycle">
    <vt:lpwstr/>
  </property>
  <property fmtid="{D5CDD505-2E9C-101B-9397-08002B2CF9AE}" pid="9" name="Document Confidentiality">
    <vt:lpwstr>Unrestricted</vt:lpwstr>
  </property>
  <property fmtid="{D5CDD505-2E9C-101B-9397-08002B2CF9AE}" pid="10" name="sodocoClasLang">
    <vt:lpwstr>Frei verwendbar</vt:lpwstr>
  </property>
  <property fmtid="{D5CDD505-2E9C-101B-9397-08002B2CF9AE}" pid="11" name="sodocoClasLangId">
    <vt:i4>0</vt:i4>
  </property>
  <property fmtid="{D5CDD505-2E9C-101B-9397-08002B2CF9AE}" pid="12" name="sodocoClasId">
    <vt:i4>0</vt:i4>
  </property>
  <property fmtid="{D5CDD505-2E9C-101B-9397-08002B2CF9AE}" pid="13" name="MSIP_Label_6f75f480-7803-4ee9-bb54-84d0635fdbe7_Enabled">
    <vt:lpwstr>true</vt:lpwstr>
  </property>
  <property fmtid="{D5CDD505-2E9C-101B-9397-08002B2CF9AE}" pid="14" name="MSIP_Label_6f75f480-7803-4ee9-bb54-84d0635fdbe7_SetDate">
    <vt:lpwstr>2020-11-04T20:14:41Z</vt:lpwstr>
  </property>
  <property fmtid="{D5CDD505-2E9C-101B-9397-08002B2CF9AE}" pid="15" name="MSIP_Label_6f75f480-7803-4ee9-bb54-84d0635fdbe7_Method">
    <vt:lpwstr>Standard</vt:lpwstr>
  </property>
  <property fmtid="{D5CDD505-2E9C-101B-9397-08002B2CF9AE}" pid="16" name="MSIP_Label_6f75f480-7803-4ee9-bb54-84d0635fdbe7_Name">
    <vt:lpwstr>unrestricted</vt:lpwstr>
  </property>
  <property fmtid="{D5CDD505-2E9C-101B-9397-08002B2CF9AE}" pid="17" name="MSIP_Label_6f75f480-7803-4ee9-bb54-84d0635fdbe7_SiteId">
    <vt:lpwstr>38ae3bcd-9579-4fd4-adda-b42e1495d55a</vt:lpwstr>
  </property>
  <property fmtid="{D5CDD505-2E9C-101B-9397-08002B2CF9AE}" pid="18" name="MSIP_Label_6f75f480-7803-4ee9-bb54-84d0635fdbe7_ActionId">
    <vt:lpwstr>f4c3bb7a-13a1-4fb4-98d7-3d9cad1ad96b</vt:lpwstr>
  </property>
  <property fmtid="{D5CDD505-2E9C-101B-9397-08002B2CF9AE}" pid="19" name="MSIP_Label_6f75f480-7803-4ee9-bb54-84d0635fdbe7_ContentBits">
    <vt:lpwstr>0</vt:lpwstr>
  </property>
  <property fmtid="{D5CDD505-2E9C-101B-9397-08002B2CF9AE}" pid="20" name="Document_Confidentiality">
    <vt:lpwstr>Unrestricted</vt:lpwstr>
  </property>
</Properties>
</file>